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65" r:id="rId2"/>
    <p:sldId id="258" r:id="rId3"/>
    <p:sldId id="259" r:id="rId4"/>
    <p:sldId id="261" r:id="rId5"/>
    <p:sldId id="263" r:id="rId6"/>
    <p:sldId id="267" r:id="rId7"/>
    <p:sldId id="268" r:id="rId8"/>
    <p:sldId id="269" r:id="rId9"/>
    <p:sldId id="264" r:id="rId10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3B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395" autoAdjust="0"/>
  </p:normalViewPr>
  <p:slideViewPr>
    <p:cSldViewPr snapToGrid="0">
      <p:cViewPr>
        <p:scale>
          <a:sx n="75" d="100"/>
          <a:sy n="75" d="100"/>
        </p:scale>
        <p:origin x="-1896" y="-9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C:\Users\Peter.laursen\Desktop\Diverse%20skriveborf\data%20AMU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oleObject" Target="file:///\\srv-filestore\broendby%20users\Jacob.Legene\DEKRA%20StreamLine\Analyser\AMU%20Markedsoverblik\Privat%20vs.%20Offentlig%202010%20-%202017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983266209363494E-2"/>
          <c:y val="0.11642223027976928"/>
          <c:w val="0.88640481961734874"/>
          <c:h val="0.57023029262826375"/>
        </c:manualLayout>
      </c:layout>
      <c:lineChart>
        <c:grouping val="standard"/>
        <c:varyColors val="0"/>
        <c:ser>
          <c:idx val="0"/>
          <c:order val="0"/>
          <c:tx>
            <c:strRef>
              <c:f>'ALLE udvalg'!$A$49</c:f>
              <c:strCache>
                <c:ptCount val="1"/>
                <c:pt idx="0">
                  <c:v>ServiceErhvervenes Efteruddannelsesudvalg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ALLE udvalg'!$C$41:$I$41</c:f>
              <c:numCache>
                <c:formatCode>General</c:formatCode>
                <c:ptCount val="7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</c:numCache>
            </c:numRef>
          </c:cat>
          <c:val>
            <c:numRef>
              <c:f>'ALLE udvalg'!$C$49:$I$49</c:f>
              <c:numCache>
                <c:formatCode>0</c:formatCode>
                <c:ptCount val="7"/>
                <c:pt idx="0">
                  <c:v>785.9</c:v>
                </c:pt>
                <c:pt idx="1">
                  <c:v>671.4</c:v>
                </c:pt>
                <c:pt idx="2">
                  <c:v>598.4</c:v>
                </c:pt>
                <c:pt idx="3">
                  <c:v>468.8</c:v>
                </c:pt>
                <c:pt idx="4">
                  <c:v>373</c:v>
                </c:pt>
                <c:pt idx="5">
                  <c:v>370</c:v>
                </c:pt>
                <c:pt idx="6">
                  <c:v>356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AAAF-43C5-BD22-40CD4C4A847E}"/>
            </c:ext>
          </c:extLst>
        </c:ser>
        <c:ser>
          <c:idx val="1"/>
          <c:order val="1"/>
          <c:tx>
            <c:strRef>
              <c:f>'ALLE udvalg'!$A$50</c:f>
              <c:strCache>
                <c:ptCount val="1"/>
                <c:pt idx="0">
                  <c:v>Mejeri- og Jordbrugets Efteruddannelsesudvalg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ALLE udvalg'!$C$41:$I$41</c:f>
              <c:numCache>
                <c:formatCode>General</c:formatCode>
                <c:ptCount val="7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</c:numCache>
            </c:numRef>
          </c:cat>
          <c:val>
            <c:numRef>
              <c:f>'ALLE udvalg'!$C$50:$I$50</c:f>
              <c:numCache>
                <c:formatCode>0</c:formatCode>
                <c:ptCount val="7"/>
                <c:pt idx="0">
                  <c:v>470.1</c:v>
                </c:pt>
                <c:pt idx="1">
                  <c:v>451.2</c:v>
                </c:pt>
                <c:pt idx="2">
                  <c:v>419.7</c:v>
                </c:pt>
                <c:pt idx="3">
                  <c:v>376.8</c:v>
                </c:pt>
                <c:pt idx="4">
                  <c:v>331</c:v>
                </c:pt>
                <c:pt idx="5">
                  <c:v>345</c:v>
                </c:pt>
                <c:pt idx="6">
                  <c:v>369.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AAAF-43C5-BD22-40CD4C4A847E}"/>
            </c:ext>
          </c:extLst>
        </c:ser>
        <c:ser>
          <c:idx val="2"/>
          <c:order val="2"/>
          <c:tx>
            <c:strRef>
              <c:f>'ALLE udvalg'!$A$51</c:f>
              <c:strCache>
                <c:ptCount val="1"/>
                <c:pt idx="0">
                  <c:v>Industriens Fællesudvalg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ALLE udvalg'!$C$41:$I$41</c:f>
              <c:numCache>
                <c:formatCode>General</c:formatCode>
                <c:ptCount val="7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</c:numCache>
            </c:numRef>
          </c:cat>
          <c:val>
            <c:numRef>
              <c:f>'ALLE udvalg'!$C$51:$I$51</c:f>
              <c:numCache>
                <c:formatCode>0</c:formatCode>
                <c:ptCount val="7"/>
                <c:pt idx="0">
                  <c:v>553.5</c:v>
                </c:pt>
                <c:pt idx="1">
                  <c:v>500.6</c:v>
                </c:pt>
                <c:pt idx="2">
                  <c:v>490.3</c:v>
                </c:pt>
                <c:pt idx="3">
                  <c:v>436.5</c:v>
                </c:pt>
                <c:pt idx="4">
                  <c:v>472.7</c:v>
                </c:pt>
                <c:pt idx="5">
                  <c:v>481.2</c:v>
                </c:pt>
                <c:pt idx="6">
                  <c:v>44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AAAF-43C5-BD22-40CD4C4A847E}"/>
            </c:ext>
          </c:extLst>
        </c:ser>
        <c:ser>
          <c:idx val="3"/>
          <c:order val="3"/>
          <c:tx>
            <c:strRef>
              <c:f>'ALLE udvalg'!$A$52</c:f>
              <c:strCache>
                <c:ptCount val="1"/>
                <c:pt idx="0">
                  <c:v>Bygge-/Anlægsområdet og -Industri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ALLE udvalg'!$C$41:$I$41</c:f>
              <c:numCache>
                <c:formatCode>General</c:formatCode>
                <c:ptCount val="7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</c:numCache>
            </c:numRef>
          </c:cat>
          <c:val>
            <c:numRef>
              <c:f>'ALLE udvalg'!$C$52:$I$52</c:f>
              <c:numCache>
                <c:formatCode>0</c:formatCode>
                <c:ptCount val="7"/>
                <c:pt idx="0">
                  <c:v>671.8</c:v>
                </c:pt>
                <c:pt idx="1">
                  <c:v>795.7</c:v>
                </c:pt>
                <c:pt idx="2">
                  <c:v>726</c:v>
                </c:pt>
                <c:pt idx="3">
                  <c:v>735.9</c:v>
                </c:pt>
                <c:pt idx="4">
                  <c:v>643.9</c:v>
                </c:pt>
                <c:pt idx="5">
                  <c:v>580.70000000000005</c:v>
                </c:pt>
                <c:pt idx="6">
                  <c:v>599.7000000000000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AAAF-43C5-BD22-40CD4C4A847E}"/>
            </c:ext>
          </c:extLst>
        </c:ser>
        <c:ser>
          <c:idx val="4"/>
          <c:order val="4"/>
          <c:tx>
            <c:strRef>
              <c:f>'ALLE udvalg'!$A$53</c:f>
              <c:strCache>
                <c:ptCount val="1"/>
                <c:pt idx="0">
                  <c:v>Pædagogiske Område og Social og Sundhedsområdet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'ALLE udvalg'!$C$41:$I$41</c:f>
              <c:numCache>
                <c:formatCode>General</c:formatCode>
                <c:ptCount val="7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</c:numCache>
            </c:numRef>
          </c:cat>
          <c:val>
            <c:numRef>
              <c:f>'ALLE udvalg'!$C$53:$I$53</c:f>
              <c:numCache>
                <c:formatCode>0</c:formatCode>
                <c:ptCount val="7"/>
                <c:pt idx="0">
                  <c:v>1372.7</c:v>
                </c:pt>
                <c:pt idx="1">
                  <c:v>1475.9</c:v>
                </c:pt>
                <c:pt idx="2">
                  <c:v>1492.2</c:v>
                </c:pt>
                <c:pt idx="3">
                  <c:v>1426.5</c:v>
                </c:pt>
                <c:pt idx="4">
                  <c:v>1036.8</c:v>
                </c:pt>
                <c:pt idx="5">
                  <c:v>848.4</c:v>
                </c:pt>
                <c:pt idx="6">
                  <c:v>733.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AAAF-43C5-BD22-40CD4C4A847E}"/>
            </c:ext>
          </c:extLst>
        </c:ser>
        <c:ser>
          <c:idx val="5"/>
          <c:order val="5"/>
          <c:tx>
            <c:strRef>
              <c:f>'ALLE udvalg'!$A$54</c:f>
              <c:strCache>
                <c:ptCount val="1"/>
                <c:pt idx="0">
                  <c:v>Handel, Administration, Kommunikation og Ledelse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'ALLE udvalg'!$C$41:$I$41</c:f>
              <c:numCache>
                <c:formatCode>General</c:formatCode>
                <c:ptCount val="7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</c:numCache>
            </c:numRef>
          </c:cat>
          <c:val>
            <c:numRef>
              <c:f>'ALLE udvalg'!$C$54:$I$54</c:f>
              <c:numCache>
                <c:formatCode>0</c:formatCode>
                <c:ptCount val="7"/>
                <c:pt idx="0">
                  <c:v>2458.3000000000002</c:v>
                </c:pt>
                <c:pt idx="1">
                  <c:v>2122.9</c:v>
                </c:pt>
                <c:pt idx="2">
                  <c:v>1830</c:v>
                </c:pt>
                <c:pt idx="3">
                  <c:v>1348.4</c:v>
                </c:pt>
                <c:pt idx="4">
                  <c:v>1135.9000000000001</c:v>
                </c:pt>
                <c:pt idx="5">
                  <c:v>1148.7</c:v>
                </c:pt>
                <c:pt idx="6">
                  <c:v>1085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AAAF-43C5-BD22-40CD4C4A847E}"/>
            </c:ext>
          </c:extLst>
        </c:ser>
        <c:ser>
          <c:idx val="6"/>
          <c:order val="6"/>
          <c:tx>
            <c:strRef>
              <c:f>'ALLE udvalg'!$A$55</c:f>
              <c:strCache>
                <c:ptCount val="1"/>
                <c:pt idx="0">
                  <c:v>Transporterhvervets Uddannelser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ALLE udvalg'!$C$41:$I$41</c:f>
              <c:numCache>
                <c:formatCode>General</c:formatCode>
                <c:ptCount val="7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</c:numCache>
            </c:numRef>
          </c:cat>
          <c:val>
            <c:numRef>
              <c:f>'ALLE udvalg'!$C$55:$I$55</c:f>
              <c:numCache>
                <c:formatCode>0</c:formatCode>
                <c:ptCount val="7"/>
                <c:pt idx="0">
                  <c:v>2339.1999999999998</c:v>
                </c:pt>
                <c:pt idx="1">
                  <c:v>2616.1999999999998</c:v>
                </c:pt>
                <c:pt idx="2">
                  <c:v>2706.2</c:v>
                </c:pt>
                <c:pt idx="3">
                  <c:v>2488.6</c:v>
                </c:pt>
                <c:pt idx="4">
                  <c:v>2629.8</c:v>
                </c:pt>
                <c:pt idx="5">
                  <c:v>2760</c:v>
                </c:pt>
                <c:pt idx="6">
                  <c:v>3021.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AAAF-43C5-BD22-40CD4C4A84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8205056"/>
        <c:axId val="98206848"/>
      </c:lineChart>
      <c:catAx>
        <c:axId val="98205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98206848"/>
        <c:crosses val="autoZero"/>
        <c:auto val="1"/>
        <c:lblAlgn val="ctr"/>
        <c:lblOffset val="100"/>
        <c:noMultiLvlLbl val="0"/>
      </c:catAx>
      <c:valAx>
        <c:axId val="982068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982050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a-DK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967278148104971"/>
          <c:y val="8.5635856367208524E-2"/>
          <c:w val="0.85058742488951999"/>
          <c:h val="0.71947778207031798"/>
        </c:manualLayout>
      </c:layout>
      <c:lineChart>
        <c:grouping val="standard"/>
        <c:varyColors val="0"/>
        <c:ser>
          <c:idx val="0"/>
          <c:order val="0"/>
          <c:tx>
            <c:strRef>
              <c:f>'OlapReport2Excel (1)'!$G$17</c:f>
              <c:strCache>
                <c:ptCount val="1"/>
                <c:pt idx="0">
                  <c:v>Private AMU udbydere inden for TUR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'OlapReport2Excel (1)'!$H$16:$O$16</c:f>
              <c:numCache>
                <c:formatCode>General</c:formatCode>
                <c:ptCount val="7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</c:numCache>
              <c:extLst xmlns:c16r2="http://schemas.microsoft.com/office/drawing/2015/06/chart"/>
            </c:numRef>
          </c:cat>
          <c:val>
            <c:numRef>
              <c:f>'OlapReport2Excel (1)'!$H$17:$O$17</c:f>
              <c:numCache>
                <c:formatCode>_-* #,##0\ _k_r_._-;\-* #,##0\ _k_r_._-;_-* "-"??\ _k_r_._-;_-@_-</c:formatCode>
                <c:ptCount val="7"/>
                <c:pt idx="0">
                  <c:v>916.09999999999991</c:v>
                </c:pt>
                <c:pt idx="1">
                  <c:v>1078.3</c:v>
                </c:pt>
                <c:pt idx="2">
                  <c:v>1148.0999999999999</c:v>
                </c:pt>
                <c:pt idx="3">
                  <c:v>1048.2</c:v>
                </c:pt>
                <c:pt idx="4">
                  <c:v>1173.4000000000001</c:v>
                </c:pt>
                <c:pt idx="5">
                  <c:v>1257.8</c:v>
                </c:pt>
                <c:pt idx="6">
                  <c:v>1427.6999999999998</c:v>
                </c:pt>
              </c:numCache>
              <c:extLst xmlns:c16r2="http://schemas.microsoft.com/office/drawing/2015/06/chart"/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201D-4C99-96D4-E8C6E59DF9D6}"/>
            </c:ext>
          </c:extLst>
        </c:ser>
        <c:ser>
          <c:idx val="1"/>
          <c:order val="1"/>
          <c:tx>
            <c:strRef>
              <c:f>'OlapReport2Excel (1)'!$G$18</c:f>
              <c:strCache>
                <c:ptCount val="1"/>
                <c:pt idx="0">
                  <c:v>Offentlige AMU udbyder inden for TUR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2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'OlapReport2Excel (1)'!$H$16:$O$16</c:f>
              <c:numCache>
                <c:formatCode>General</c:formatCode>
                <c:ptCount val="7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</c:numCache>
              <c:extLst xmlns:c16r2="http://schemas.microsoft.com/office/drawing/2015/06/chart"/>
            </c:numRef>
          </c:cat>
          <c:val>
            <c:numRef>
              <c:f>'OlapReport2Excel (1)'!$H$18:$O$18</c:f>
              <c:numCache>
                <c:formatCode>_-* #,##0\ _k_r_._-;\-* #,##0\ _k_r_._-;_-* "-"??\ _k_r_._-;_-@_-</c:formatCode>
                <c:ptCount val="7"/>
                <c:pt idx="0">
                  <c:v>1362</c:v>
                </c:pt>
                <c:pt idx="1">
                  <c:v>1470.8</c:v>
                </c:pt>
                <c:pt idx="2">
                  <c:v>1495.8</c:v>
                </c:pt>
                <c:pt idx="3">
                  <c:v>1368.4</c:v>
                </c:pt>
                <c:pt idx="4">
                  <c:v>1406.2</c:v>
                </c:pt>
                <c:pt idx="5">
                  <c:v>1458.4</c:v>
                </c:pt>
                <c:pt idx="6">
                  <c:v>1548.1000000000001</c:v>
                </c:pt>
              </c:numCache>
              <c:extLst xmlns:c16r2="http://schemas.microsoft.com/office/drawing/2015/06/chart"/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201D-4C99-96D4-E8C6E59DF9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1868672"/>
        <c:axId val="101870592"/>
      </c:lineChart>
      <c:catAx>
        <c:axId val="10186867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a-DK"/>
                  <a:t>År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01870592"/>
        <c:crosses val="autoZero"/>
        <c:auto val="1"/>
        <c:lblAlgn val="ctr"/>
        <c:lblOffset val="100"/>
        <c:noMultiLvlLbl val="0"/>
      </c:catAx>
      <c:valAx>
        <c:axId val="101870592"/>
        <c:scaling>
          <c:orientation val="minMax"/>
          <c:min val="6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a-DK"/>
                  <a:t>Årselever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_-* #,##0\ _k_r_._-;\-* #,##0\ _k_r_._-;_-* &quot;-&quot;??\ _k_r_.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01868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a-DK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AE4A1B9-DBE0-476B-AAF7-4DA330490092}" type="doc">
      <dgm:prSet loTypeId="urn:microsoft.com/office/officeart/2005/8/layout/radial6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C4FCE2AF-EB08-4184-9F73-C19CB5662F60}">
      <dgm:prSet phldrT="[Tekst]"/>
      <dgm:spPr>
        <a:solidFill>
          <a:srgbClr val="F53BC0"/>
        </a:solidFill>
      </dgm:spPr>
      <dgm:t>
        <a:bodyPr/>
        <a:lstStyle/>
        <a:p>
          <a:r>
            <a:rPr lang="da-DK" dirty="0" smtClean="0"/>
            <a:t>Økonomisk</a:t>
          </a:r>
          <a:r>
            <a:rPr lang="da-DK" baseline="0" dirty="0" smtClean="0"/>
            <a:t> Bæredygtighed</a:t>
          </a:r>
          <a:endParaRPr lang="da-DK" dirty="0"/>
        </a:p>
      </dgm:t>
    </dgm:pt>
    <dgm:pt modelId="{712C08E1-54C0-4C88-8D21-C73FBEC75D7C}" type="parTrans" cxnId="{96241477-706C-42C1-80B8-2DA06C171BAC}">
      <dgm:prSet/>
      <dgm:spPr/>
      <dgm:t>
        <a:bodyPr/>
        <a:lstStyle/>
        <a:p>
          <a:endParaRPr lang="da-DK"/>
        </a:p>
      </dgm:t>
    </dgm:pt>
    <dgm:pt modelId="{5B5E71E8-B648-446C-872A-E05F7E16BAC3}" type="sibTrans" cxnId="{96241477-706C-42C1-80B8-2DA06C171BAC}">
      <dgm:prSet/>
      <dgm:spPr/>
      <dgm:t>
        <a:bodyPr/>
        <a:lstStyle/>
        <a:p>
          <a:endParaRPr lang="da-DK"/>
        </a:p>
      </dgm:t>
    </dgm:pt>
    <dgm:pt modelId="{6CB22F62-ED44-466E-93E2-A9B29FCFD1F6}">
      <dgm:prSet phldrT="[Tekst]"/>
      <dgm:spPr/>
      <dgm:t>
        <a:bodyPr/>
        <a:lstStyle/>
        <a:p>
          <a:r>
            <a:rPr lang="da-DK" dirty="0" smtClean="0"/>
            <a:t>Samfundet</a:t>
          </a:r>
          <a:endParaRPr lang="da-DK" dirty="0"/>
        </a:p>
      </dgm:t>
    </dgm:pt>
    <dgm:pt modelId="{B1F02C5C-B614-4B05-8B46-76948E850B4E}" type="parTrans" cxnId="{78C4A50E-97D0-4235-8E28-AFC57E6088CA}">
      <dgm:prSet/>
      <dgm:spPr/>
      <dgm:t>
        <a:bodyPr/>
        <a:lstStyle/>
        <a:p>
          <a:endParaRPr lang="da-DK"/>
        </a:p>
      </dgm:t>
    </dgm:pt>
    <dgm:pt modelId="{F2722EAA-B63E-45CF-B3F5-A6F8EA23D438}" type="sibTrans" cxnId="{78C4A50E-97D0-4235-8E28-AFC57E6088CA}">
      <dgm:prSet/>
      <dgm:spPr/>
      <dgm:t>
        <a:bodyPr/>
        <a:lstStyle/>
        <a:p>
          <a:endParaRPr lang="da-DK"/>
        </a:p>
      </dgm:t>
    </dgm:pt>
    <dgm:pt modelId="{8395A6BA-EB30-436D-94FF-6BA030DF74A2}">
      <dgm:prSet phldrT="[Tekst]"/>
      <dgm:spPr/>
      <dgm:t>
        <a:bodyPr/>
        <a:lstStyle/>
        <a:p>
          <a:r>
            <a:rPr lang="da-DK" dirty="0" smtClean="0"/>
            <a:t>Borgeren</a:t>
          </a:r>
          <a:endParaRPr lang="da-DK" dirty="0"/>
        </a:p>
      </dgm:t>
    </dgm:pt>
    <dgm:pt modelId="{C343E694-24A6-4374-8DD8-6D92DDFB1407}" type="parTrans" cxnId="{32296757-2DF6-42B5-A4CB-FE4AA225CDDE}">
      <dgm:prSet/>
      <dgm:spPr/>
      <dgm:t>
        <a:bodyPr/>
        <a:lstStyle/>
        <a:p>
          <a:endParaRPr lang="da-DK"/>
        </a:p>
      </dgm:t>
    </dgm:pt>
    <dgm:pt modelId="{3AC3915F-206F-4609-8BA7-F85D5B5F944E}" type="sibTrans" cxnId="{32296757-2DF6-42B5-A4CB-FE4AA225CDDE}">
      <dgm:prSet/>
      <dgm:spPr/>
      <dgm:t>
        <a:bodyPr/>
        <a:lstStyle/>
        <a:p>
          <a:endParaRPr lang="da-DK"/>
        </a:p>
      </dgm:t>
    </dgm:pt>
    <dgm:pt modelId="{142D23DE-EED6-4483-BE02-B275387A593A}">
      <dgm:prSet phldrT="[Tekst]"/>
      <dgm:spPr/>
      <dgm:t>
        <a:bodyPr/>
        <a:lstStyle/>
        <a:p>
          <a:r>
            <a:rPr lang="da-DK" dirty="0" smtClean="0"/>
            <a:t>Skolerne</a:t>
          </a:r>
          <a:endParaRPr lang="da-DK" dirty="0"/>
        </a:p>
      </dgm:t>
    </dgm:pt>
    <dgm:pt modelId="{D90AD1A4-E1D3-42A3-A5D5-16B8C2F177D9}" type="parTrans" cxnId="{A9CFC0DD-9A22-4260-B72D-9861F57043BF}">
      <dgm:prSet/>
      <dgm:spPr/>
      <dgm:t>
        <a:bodyPr/>
        <a:lstStyle/>
        <a:p>
          <a:endParaRPr lang="da-DK"/>
        </a:p>
      </dgm:t>
    </dgm:pt>
    <dgm:pt modelId="{DEA5A474-34BD-4425-9DF3-EB8A1CA441B4}" type="sibTrans" cxnId="{A9CFC0DD-9A22-4260-B72D-9861F57043BF}">
      <dgm:prSet/>
      <dgm:spPr/>
      <dgm:t>
        <a:bodyPr/>
        <a:lstStyle/>
        <a:p>
          <a:endParaRPr lang="da-DK"/>
        </a:p>
      </dgm:t>
    </dgm:pt>
    <dgm:pt modelId="{51B1FFF7-6EEC-439F-A59A-2E7D2D4E40C0}">
      <dgm:prSet phldrT="[Tekst]" custT="1"/>
      <dgm:spPr/>
      <dgm:t>
        <a:bodyPr/>
        <a:lstStyle/>
        <a:p>
          <a:r>
            <a:rPr lang="da-DK" sz="1900" dirty="0" err="1" smtClean="0"/>
            <a:t>Virksom-hederne</a:t>
          </a:r>
          <a:endParaRPr lang="da-DK" sz="1900" dirty="0"/>
        </a:p>
      </dgm:t>
    </dgm:pt>
    <dgm:pt modelId="{517A92E6-298C-4D8B-830D-6256E6164FA9}" type="parTrans" cxnId="{9EDED5E8-85C2-4A5D-99BE-ABA88FEC6615}">
      <dgm:prSet/>
      <dgm:spPr/>
      <dgm:t>
        <a:bodyPr/>
        <a:lstStyle/>
        <a:p>
          <a:endParaRPr lang="da-DK"/>
        </a:p>
      </dgm:t>
    </dgm:pt>
    <dgm:pt modelId="{42C81433-56DA-4F04-B051-9C9BFEE1E5A9}" type="sibTrans" cxnId="{9EDED5E8-85C2-4A5D-99BE-ABA88FEC6615}">
      <dgm:prSet/>
      <dgm:spPr/>
      <dgm:t>
        <a:bodyPr/>
        <a:lstStyle/>
        <a:p>
          <a:endParaRPr lang="da-DK"/>
        </a:p>
      </dgm:t>
    </dgm:pt>
    <dgm:pt modelId="{9C33D9BE-1618-40FB-B53A-B254DE01E153}" type="pres">
      <dgm:prSet presAssocID="{8AE4A1B9-DBE0-476B-AAF7-4DA330490092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da-DK"/>
        </a:p>
      </dgm:t>
    </dgm:pt>
    <dgm:pt modelId="{E8D406D8-4CFE-4B1D-B3A4-CDA3F734529C}" type="pres">
      <dgm:prSet presAssocID="{C4FCE2AF-EB08-4184-9F73-C19CB5662F60}" presName="centerShape" presStyleLbl="node0" presStyleIdx="0" presStyleCnt="1"/>
      <dgm:spPr/>
      <dgm:t>
        <a:bodyPr/>
        <a:lstStyle/>
        <a:p>
          <a:endParaRPr lang="da-DK"/>
        </a:p>
      </dgm:t>
    </dgm:pt>
    <dgm:pt modelId="{805039E1-EFA9-4993-BE8E-4216336CE11E}" type="pres">
      <dgm:prSet presAssocID="{6CB22F62-ED44-466E-93E2-A9B29FCFD1F6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5082A330-4943-4938-B34F-3CBD99327AA8}" type="pres">
      <dgm:prSet presAssocID="{6CB22F62-ED44-466E-93E2-A9B29FCFD1F6}" presName="dummy" presStyleCnt="0"/>
      <dgm:spPr/>
    </dgm:pt>
    <dgm:pt modelId="{2C6B8ED8-E1CC-48A7-B532-5173DD83C7F7}" type="pres">
      <dgm:prSet presAssocID="{F2722EAA-B63E-45CF-B3F5-A6F8EA23D438}" presName="sibTrans" presStyleLbl="sibTrans2D1" presStyleIdx="0" presStyleCnt="4"/>
      <dgm:spPr/>
      <dgm:t>
        <a:bodyPr/>
        <a:lstStyle/>
        <a:p>
          <a:endParaRPr lang="da-DK"/>
        </a:p>
      </dgm:t>
    </dgm:pt>
    <dgm:pt modelId="{971E4BB1-55A1-449F-8B6A-259411F7C58F}" type="pres">
      <dgm:prSet presAssocID="{8395A6BA-EB30-436D-94FF-6BA030DF74A2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95A93048-1AA9-4ABD-976C-5C3674402FEB}" type="pres">
      <dgm:prSet presAssocID="{8395A6BA-EB30-436D-94FF-6BA030DF74A2}" presName="dummy" presStyleCnt="0"/>
      <dgm:spPr/>
    </dgm:pt>
    <dgm:pt modelId="{238F9940-B004-43B1-A4F5-2B02B68ADD71}" type="pres">
      <dgm:prSet presAssocID="{3AC3915F-206F-4609-8BA7-F85D5B5F944E}" presName="sibTrans" presStyleLbl="sibTrans2D1" presStyleIdx="1" presStyleCnt="4"/>
      <dgm:spPr/>
      <dgm:t>
        <a:bodyPr/>
        <a:lstStyle/>
        <a:p>
          <a:endParaRPr lang="da-DK"/>
        </a:p>
      </dgm:t>
    </dgm:pt>
    <dgm:pt modelId="{A7179A44-54A4-4491-9D28-AACCF71B9F2C}" type="pres">
      <dgm:prSet presAssocID="{142D23DE-EED6-4483-BE02-B275387A593A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0E4D16F8-1D57-4BCE-A437-FB3AA795952F}" type="pres">
      <dgm:prSet presAssocID="{142D23DE-EED6-4483-BE02-B275387A593A}" presName="dummy" presStyleCnt="0"/>
      <dgm:spPr/>
    </dgm:pt>
    <dgm:pt modelId="{55B266A7-E76F-4BC0-9FD6-7BAE1FD1A312}" type="pres">
      <dgm:prSet presAssocID="{DEA5A474-34BD-4425-9DF3-EB8A1CA441B4}" presName="sibTrans" presStyleLbl="sibTrans2D1" presStyleIdx="2" presStyleCnt="4"/>
      <dgm:spPr/>
      <dgm:t>
        <a:bodyPr/>
        <a:lstStyle/>
        <a:p>
          <a:endParaRPr lang="da-DK"/>
        </a:p>
      </dgm:t>
    </dgm:pt>
    <dgm:pt modelId="{4015FD51-4A45-4F38-BFFA-727658F2D977}" type="pres">
      <dgm:prSet presAssocID="{51B1FFF7-6EEC-439F-A59A-2E7D2D4E40C0}" presName="node" presStyleLbl="node1" presStyleIdx="3" presStyleCnt="4" custScaleX="113799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5D85EC6C-ABF0-4DB0-B0AE-0CD148BD07E9}" type="pres">
      <dgm:prSet presAssocID="{51B1FFF7-6EEC-439F-A59A-2E7D2D4E40C0}" presName="dummy" presStyleCnt="0"/>
      <dgm:spPr/>
    </dgm:pt>
    <dgm:pt modelId="{B15DDD20-5288-4211-B1A0-8FF495856445}" type="pres">
      <dgm:prSet presAssocID="{42C81433-56DA-4F04-B051-9C9BFEE1E5A9}" presName="sibTrans" presStyleLbl="sibTrans2D1" presStyleIdx="3" presStyleCnt="4"/>
      <dgm:spPr/>
      <dgm:t>
        <a:bodyPr/>
        <a:lstStyle/>
        <a:p>
          <a:endParaRPr lang="da-DK"/>
        </a:p>
      </dgm:t>
    </dgm:pt>
  </dgm:ptLst>
  <dgm:cxnLst>
    <dgm:cxn modelId="{A9CFC0DD-9A22-4260-B72D-9861F57043BF}" srcId="{C4FCE2AF-EB08-4184-9F73-C19CB5662F60}" destId="{142D23DE-EED6-4483-BE02-B275387A593A}" srcOrd="2" destOrd="0" parTransId="{D90AD1A4-E1D3-42A3-A5D5-16B8C2F177D9}" sibTransId="{DEA5A474-34BD-4425-9DF3-EB8A1CA441B4}"/>
    <dgm:cxn modelId="{6AB1F9D7-E5C1-4B1D-B012-56EBE0698ADB}" type="presOf" srcId="{8AE4A1B9-DBE0-476B-AAF7-4DA330490092}" destId="{9C33D9BE-1618-40FB-B53A-B254DE01E153}" srcOrd="0" destOrd="0" presId="urn:microsoft.com/office/officeart/2005/8/layout/radial6"/>
    <dgm:cxn modelId="{96241477-706C-42C1-80B8-2DA06C171BAC}" srcId="{8AE4A1B9-DBE0-476B-AAF7-4DA330490092}" destId="{C4FCE2AF-EB08-4184-9F73-C19CB5662F60}" srcOrd="0" destOrd="0" parTransId="{712C08E1-54C0-4C88-8D21-C73FBEC75D7C}" sibTransId="{5B5E71E8-B648-446C-872A-E05F7E16BAC3}"/>
    <dgm:cxn modelId="{EB2A5838-8549-4171-AC45-102698429FEB}" type="presOf" srcId="{F2722EAA-B63E-45CF-B3F5-A6F8EA23D438}" destId="{2C6B8ED8-E1CC-48A7-B532-5173DD83C7F7}" srcOrd="0" destOrd="0" presId="urn:microsoft.com/office/officeart/2005/8/layout/radial6"/>
    <dgm:cxn modelId="{85E4C632-89A1-4852-863C-1D58BA5EEEF9}" type="presOf" srcId="{C4FCE2AF-EB08-4184-9F73-C19CB5662F60}" destId="{E8D406D8-4CFE-4B1D-B3A4-CDA3F734529C}" srcOrd="0" destOrd="0" presId="urn:microsoft.com/office/officeart/2005/8/layout/radial6"/>
    <dgm:cxn modelId="{B428FF05-CC4E-4E77-A1F9-D2224074B59E}" type="presOf" srcId="{142D23DE-EED6-4483-BE02-B275387A593A}" destId="{A7179A44-54A4-4491-9D28-AACCF71B9F2C}" srcOrd="0" destOrd="0" presId="urn:microsoft.com/office/officeart/2005/8/layout/radial6"/>
    <dgm:cxn modelId="{78C4A50E-97D0-4235-8E28-AFC57E6088CA}" srcId="{C4FCE2AF-EB08-4184-9F73-C19CB5662F60}" destId="{6CB22F62-ED44-466E-93E2-A9B29FCFD1F6}" srcOrd="0" destOrd="0" parTransId="{B1F02C5C-B614-4B05-8B46-76948E850B4E}" sibTransId="{F2722EAA-B63E-45CF-B3F5-A6F8EA23D438}"/>
    <dgm:cxn modelId="{5C3F3DF7-F6C3-45CD-9D7D-953236BEF20B}" type="presOf" srcId="{42C81433-56DA-4F04-B051-9C9BFEE1E5A9}" destId="{B15DDD20-5288-4211-B1A0-8FF495856445}" srcOrd="0" destOrd="0" presId="urn:microsoft.com/office/officeart/2005/8/layout/radial6"/>
    <dgm:cxn modelId="{18FC4ADF-0002-40BC-A4E0-19B44C88D7ED}" type="presOf" srcId="{51B1FFF7-6EEC-439F-A59A-2E7D2D4E40C0}" destId="{4015FD51-4A45-4F38-BFFA-727658F2D977}" srcOrd="0" destOrd="0" presId="urn:microsoft.com/office/officeart/2005/8/layout/radial6"/>
    <dgm:cxn modelId="{32296757-2DF6-42B5-A4CB-FE4AA225CDDE}" srcId="{C4FCE2AF-EB08-4184-9F73-C19CB5662F60}" destId="{8395A6BA-EB30-436D-94FF-6BA030DF74A2}" srcOrd="1" destOrd="0" parTransId="{C343E694-24A6-4374-8DD8-6D92DDFB1407}" sibTransId="{3AC3915F-206F-4609-8BA7-F85D5B5F944E}"/>
    <dgm:cxn modelId="{9EDED5E8-85C2-4A5D-99BE-ABA88FEC6615}" srcId="{C4FCE2AF-EB08-4184-9F73-C19CB5662F60}" destId="{51B1FFF7-6EEC-439F-A59A-2E7D2D4E40C0}" srcOrd="3" destOrd="0" parTransId="{517A92E6-298C-4D8B-830D-6256E6164FA9}" sibTransId="{42C81433-56DA-4F04-B051-9C9BFEE1E5A9}"/>
    <dgm:cxn modelId="{469842A0-B914-416F-B92C-599ABA59E371}" type="presOf" srcId="{8395A6BA-EB30-436D-94FF-6BA030DF74A2}" destId="{971E4BB1-55A1-449F-8B6A-259411F7C58F}" srcOrd="0" destOrd="0" presId="urn:microsoft.com/office/officeart/2005/8/layout/radial6"/>
    <dgm:cxn modelId="{C6F7332C-9217-4BA5-9FEE-19E9ECCC87DC}" type="presOf" srcId="{DEA5A474-34BD-4425-9DF3-EB8A1CA441B4}" destId="{55B266A7-E76F-4BC0-9FD6-7BAE1FD1A312}" srcOrd="0" destOrd="0" presId="urn:microsoft.com/office/officeart/2005/8/layout/radial6"/>
    <dgm:cxn modelId="{FC1FCA0A-581C-436A-B693-E310DE34D6BF}" type="presOf" srcId="{6CB22F62-ED44-466E-93E2-A9B29FCFD1F6}" destId="{805039E1-EFA9-4993-BE8E-4216336CE11E}" srcOrd="0" destOrd="0" presId="urn:microsoft.com/office/officeart/2005/8/layout/radial6"/>
    <dgm:cxn modelId="{89FD1CDC-61D0-48C0-B55A-62F16BD0883F}" type="presOf" srcId="{3AC3915F-206F-4609-8BA7-F85D5B5F944E}" destId="{238F9940-B004-43B1-A4F5-2B02B68ADD71}" srcOrd="0" destOrd="0" presId="urn:microsoft.com/office/officeart/2005/8/layout/radial6"/>
    <dgm:cxn modelId="{92446276-0420-4C36-AC55-7BFE565E57AA}" type="presParOf" srcId="{9C33D9BE-1618-40FB-B53A-B254DE01E153}" destId="{E8D406D8-4CFE-4B1D-B3A4-CDA3F734529C}" srcOrd="0" destOrd="0" presId="urn:microsoft.com/office/officeart/2005/8/layout/radial6"/>
    <dgm:cxn modelId="{A904A0D3-64DC-498A-96EC-91461902A923}" type="presParOf" srcId="{9C33D9BE-1618-40FB-B53A-B254DE01E153}" destId="{805039E1-EFA9-4993-BE8E-4216336CE11E}" srcOrd="1" destOrd="0" presId="urn:microsoft.com/office/officeart/2005/8/layout/radial6"/>
    <dgm:cxn modelId="{20800717-AE1A-440E-B6FC-759FEF4FD461}" type="presParOf" srcId="{9C33D9BE-1618-40FB-B53A-B254DE01E153}" destId="{5082A330-4943-4938-B34F-3CBD99327AA8}" srcOrd="2" destOrd="0" presId="urn:microsoft.com/office/officeart/2005/8/layout/radial6"/>
    <dgm:cxn modelId="{D5696EEE-478C-4DE5-9CC8-B89FD33360A2}" type="presParOf" srcId="{9C33D9BE-1618-40FB-B53A-B254DE01E153}" destId="{2C6B8ED8-E1CC-48A7-B532-5173DD83C7F7}" srcOrd="3" destOrd="0" presId="urn:microsoft.com/office/officeart/2005/8/layout/radial6"/>
    <dgm:cxn modelId="{CC13E602-524D-4547-B105-05CD952B48A3}" type="presParOf" srcId="{9C33D9BE-1618-40FB-B53A-B254DE01E153}" destId="{971E4BB1-55A1-449F-8B6A-259411F7C58F}" srcOrd="4" destOrd="0" presId="urn:microsoft.com/office/officeart/2005/8/layout/radial6"/>
    <dgm:cxn modelId="{A762D87D-CE7A-49E0-8156-718BB0300FAF}" type="presParOf" srcId="{9C33D9BE-1618-40FB-B53A-B254DE01E153}" destId="{95A93048-1AA9-4ABD-976C-5C3674402FEB}" srcOrd="5" destOrd="0" presId="urn:microsoft.com/office/officeart/2005/8/layout/radial6"/>
    <dgm:cxn modelId="{04AA21EF-D6E5-4ECF-819F-B068564E4D4C}" type="presParOf" srcId="{9C33D9BE-1618-40FB-B53A-B254DE01E153}" destId="{238F9940-B004-43B1-A4F5-2B02B68ADD71}" srcOrd="6" destOrd="0" presId="urn:microsoft.com/office/officeart/2005/8/layout/radial6"/>
    <dgm:cxn modelId="{4212133F-7514-4AA2-ABA0-D091DF6D3851}" type="presParOf" srcId="{9C33D9BE-1618-40FB-B53A-B254DE01E153}" destId="{A7179A44-54A4-4491-9D28-AACCF71B9F2C}" srcOrd="7" destOrd="0" presId="urn:microsoft.com/office/officeart/2005/8/layout/radial6"/>
    <dgm:cxn modelId="{D08E0938-F704-464C-975E-2E1098B7ABF4}" type="presParOf" srcId="{9C33D9BE-1618-40FB-B53A-B254DE01E153}" destId="{0E4D16F8-1D57-4BCE-A437-FB3AA795952F}" srcOrd="8" destOrd="0" presId="urn:microsoft.com/office/officeart/2005/8/layout/radial6"/>
    <dgm:cxn modelId="{E12C8883-29C1-4A10-B856-3C69A812096F}" type="presParOf" srcId="{9C33D9BE-1618-40FB-B53A-B254DE01E153}" destId="{55B266A7-E76F-4BC0-9FD6-7BAE1FD1A312}" srcOrd="9" destOrd="0" presId="urn:microsoft.com/office/officeart/2005/8/layout/radial6"/>
    <dgm:cxn modelId="{43AB5BCD-F0E3-4E76-B69D-95BA2F8EC925}" type="presParOf" srcId="{9C33D9BE-1618-40FB-B53A-B254DE01E153}" destId="{4015FD51-4A45-4F38-BFFA-727658F2D977}" srcOrd="10" destOrd="0" presId="urn:microsoft.com/office/officeart/2005/8/layout/radial6"/>
    <dgm:cxn modelId="{80333DD6-0979-4759-83C1-DB7844CB4950}" type="presParOf" srcId="{9C33D9BE-1618-40FB-B53A-B254DE01E153}" destId="{5D85EC6C-ABF0-4DB0-B0AE-0CD148BD07E9}" srcOrd="11" destOrd="0" presId="urn:microsoft.com/office/officeart/2005/8/layout/radial6"/>
    <dgm:cxn modelId="{0AB82E13-011B-49C0-B150-C290F00DA44A}" type="presParOf" srcId="{9C33D9BE-1618-40FB-B53A-B254DE01E153}" destId="{B15DDD20-5288-4211-B1A0-8FF495856445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AE4A1B9-DBE0-476B-AAF7-4DA330490092}" type="doc">
      <dgm:prSet loTypeId="urn:microsoft.com/office/officeart/2005/8/layout/radial6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C4FCE2AF-EB08-4184-9F73-C19CB5662F60}">
      <dgm:prSet phldrT="[Tekst]" custT="1"/>
      <dgm:spPr>
        <a:solidFill>
          <a:srgbClr val="F53BC0"/>
        </a:solidFill>
      </dgm:spPr>
      <dgm:t>
        <a:bodyPr/>
        <a:lstStyle/>
        <a:p>
          <a:r>
            <a:rPr lang="da-DK" sz="3200" dirty="0" smtClean="0"/>
            <a:t>Økonomisk</a:t>
          </a:r>
          <a:r>
            <a:rPr lang="da-DK" sz="3200" baseline="0" dirty="0" smtClean="0"/>
            <a:t> Bæredygtighed</a:t>
          </a:r>
          <a:endParaRPr lang="da-DK" sz="3200" dirty="0"/>
        </a:p>
      </dgm:t>
    </dgm:pt>
    <dgm:pt modelId="{712C08E1-54C0-4C88-8D21-C73FBEC75D7C}" type="parTrans" cxnId="{96241477-706C-42C1-80B8-2DA06C171BAC}">
      <dgm:prSet/>
      <dgm:spPr/>
      <dgm:t>
        <a:bodyPr/>
        <a:lstStyle/>
        <a:p>
          <a:endParaRPr lang="da-DK" sz="2800"/>
        </a:p>
      </dgm:t>
    </dgm:pt>
    <dgm:pt modelId="{5B5E71E8-B648-446C-872A-E05F7E16BAC3}" type="sibTrans" cxnId="{96241477-706C-42C1-80B8-2DA06C171BAC}">
      <dgm:prSet/>
      <dgm:spPr/>
      <dgm:t>
        <a:bodyPr/>
        <a:lstStyle/>
        <a:p>
          <a:endParaRPr lang="da-DK" sz="2800"/>
        </a:p>
      </dgm:t>
    </dgm:pt>
    <dgm:pt modelId="{6CB22F62-ED44-466E-93E2-A9B29FCFD1F6}">
      <dgm:prSet phldrT="[Tekst]" custT="1"/>
      <dgm:spPr>
        <a:solidFill>
          <a:schemeClr val="accent6"/>
        </a:solidFill>
      </dgm:spPr>
      <dgm:t>
        <a:bodyPr/>
        <a:lstStyle/>
        <a:p>
          <a:r>
            <a:rPr lang="da-DK" sz="1800" dirty="0" smtClean="0"/>
            <a:t>Samfundet</a:t>
          </a:r>
          <a:endParaRPr lang="da-DK" sz="1800" dirty="0"/>
        </a:p>
      </dgm:t>
    </dgm:pt>
    <dgm:pt modelId="{B1F02C5C-B614-4B05-8B46-76948E850B4E}" type="parTrans" cxnId="{78C4A50E-97D0-4235-8E28-AFC57E6088CA}">
      <dgm:prSet/>
      <dgm:spPr/>
      <dgm:t>
        <a:bodyPr/>
        <a:lstStyle/>
        <a:p>
          <a:endParaRPr lang="da-DK" sz="2800"/>
        </a:p>
      </dgm:t>
    </dgm:pt>
    <dgm:pt modelId="{F2722EAA-B63E-45CF-B3F5-A6F8EA23D438}" type="sibTrans" cxnId="{78C4A50E-97D0-4235-8E28-AFC57E6088CA}">
      <dgm:prSet/>
      <dgm:spPr/>
      <dgm:t>
        <a:bodyPr/>
        <a:lstStyle/>
        <a:p>
          <a:endParaRPr lang="da-DK" sz="2800"/>
        </a:p>
      </dgm:t>
    </dgm:pt>
    <dgm:pt modelId="{8395A6BA-EB30-436D-94FF-6BA030DF74A2}">
      <dgm:prSet phldrT="[Tekst]" custT="1"/>
      <dgm:spPr/>
      <dgm:t>
        <a:bodyPr/>
        <a:lstStyle/>
        <a:p>
          <a:r>
            <a:rPr lang="da-DK" sz="1800" dirty="0" smtClean="0"/>
            <a:t>Individet</a:t>
          </a:r>
          <a:endParaRPr lang="da-DK" sz="1800" dirty="0"/>
        </a:p>
      </dgm:t>
    </dgm:pt>
    <dgm:pt modelId="{C343E694-24A6-4374-8DD8-6D92DDFB1407}" type="parTrans" cxnId="{32296757-2DF6-42B5-A4CB-FE4AA225CDDE}">
      <dgm:prSet/>
      <dgm:spPr/>
      <dgm:t>
        <a:bodyPr/>
        <a:lstStyle/>
        <a:p>
          <a:endParaRPr lang="da-DK" sz="2800"/>
        </a:p>
      </dgm:t>
    </dgm:pt>
    <dgm:pt modelId="{3AC3915F-206F-4609-8BA7-F85D5B5F944E}" type="sibTrans" cxnId="{32296757-2DF6-42B5-A4CB-FE4AA225CDDE}">
      <dgm:prSet/>
      <dgm:spPr/>
      <dgm:t>
        <a:bodyPr/>
        <a:lstStyle/>
        <a:p>
          <a:endParaRPr lang="da-DK" sz="2800"/>
        </a:p>
      </dgm:t>
    </dgm:pt>
    <dgm:pt modelId="{142D23DE-EED6-4483-BE02-B275387A593A}">
      <dgm:prSet phldrT="[Tekst]" custT="1"/>
      <dgm:spPr/>
      <dgm:t>
        <a:bodyPr/>
        <a:lstStyle/>
        <a:p>
          <a:r>
            <a:rPr lang="da-DK" sz="1800" dirty="0" smtClean="0"/>
            <a:t>Skolerne</a:t>
          </a:r>
          <a:endParaRPr lang="da-DK" sz="1800" dirty="0"/>
        </a:p>
      </dgm:t>
    </dgm:pt>
    <dgm:pt modelId="{D90AD1A4-E1D3-42A3-A5D5-16B8C2F177D9}" type="parTrans" cxnId="{A9CFC0DD-9A22-4260-B72D-9861F57043BF}">
      <dgm:prSet/>
      <dgm:spPr/>
      <dgm:t>
        <a:bodyPr/>
        <a:lstStyle/>
        <a:p>
          <a:endParaRPr lang="da-DK" sz="2800"/>
        </a:p>
      </dgm:t>
    </dgm:pt>
    <dgm:pt modelId="{DEA5A474-34BD-4425-9DF3-EB8A1CA441B4}" type="sibTrans" cxnId="{A9CFC0DD-9A22-4260-B72D-9861F57043BF}">
      <dgm:prSet/>
      <dgm:spPr/>
      <dgm:t>
        <a:bodyPr/>
        <a:lstStyle/>
        <a:p>
          <a:endParaRPr lang="da-DK" sz="2800"/>
        </a:p>
      </dgm:t>
    </dgm:pt>
    <dgm:pt modelId="{51B1FFF7-6EEC-439F-A59A-2E7D2D4E40C0}">
      <dgm:prSet phldrT="[Tekst]" custT="1"/>
      <dgm:spPr/>
      <dgm:t>
        <a:bodyPr/>
        <a:lstStyle/>
        <a:p>
          <a:r>
            <a:rPr lang="da-DK" sz="1800" dirty="0" smtClean="0"/>
            <a:t>Virksomhederne</a:t>
          </a:r>
          <a:endParaRPr lang="da-DK" sz="1800" dirty="0"/>
        </a:p>
      </dgm:t>
    </dgm:pt>
    <dgm:pt modelId="{517A92E6-298C-4D8B-830D-6256E6164FA9}" type="parTrans" cxnId="{9EDED5E8-85C2-4A5D-99BE-ABA88FEC6615}">
      <dgm:prSet/>
      <dgm:spPr/>
      <dgm:t>
        <a:bodyPr/>
        <a:lstStyle/>
        <a:p>
          <a:endParaRPr lang="da-DK" sz="2800"/>
        </a:p>
      </dgm:t>
    </dgm:pt>
    <dgm:pt modelId="{42C81433-56DA-4F04-B051-9C9BFEE1E5A9}" type="sibTrans" cxnId="{9EDED5E8-85C2-4A5D-99BE-ABA88FEC6615}">
      <dgm:prSet/>
      <dgm:spPr/>
      <dgm:t>
        <a:bodyPr/>
        <a:lstStyle/>
        <a:p>
          <a:endParaRPr lang="da-DK" sz="2800"/>
        </a:p>
      </dgm:t>
    </dgm:pt>
    <dgm:pt modelId="{9C33D9BE-1618-40FB-B53A-B254DE01E153}" type="pres">
      <dgm:prSet presAssocID="{8AE4A1B9-DBE0-476B-AAF7-4DA330490092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da-DK"/>
        </a:p>
      </dgm:t>
    </dgm:pt>
    <dgm:pt modelId="{E8D406D8-4CFE-4B1D-B3A4-CDA3F734529C}" type="pres">
      <dgm:prSet presAssocID="{C4FCE2AF-EB08-4184-9F73-C19CB5662F60}" presName="centerShape" presStyleLbl="node0" presStyleIdx="0" presStyleCnt="1"/>
      <dgm:spPr/>
      <dgm:t>
        <a:bodyPr/>
        <a:lstStyle/>
        <a:p>
          <a:endParaRPr lang="da-DK"/>
        </a:p>
      </dgm:t>
    </dgm:pt>
    <dgm:pt modelId="{805039E1-EFA9-4993-BE8E-4216336CE11E}" type="pres">
      <dgm:prSet presAssocID="{6CB22F62-ED44-466E-93E2-A9B29FCFD1F6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5082A330-4943-4938-B34F-3CBD99327AA8}" type="pres">
      <dgm:prSet presAssocID="{6CB22F62-ED44-466E-93E2-A9B29FCFD1F6}" presName="dummy" presStyleCnt="0"/>
      <dgm:spPr/>
    </dgm:pt>
    <dgm:pt modelId="{2C6B8ED8-E1CC-48A7-B532-5173DD83C7F7}" type="pres">
      <dgm:prSet presAssocID="{F2722EAA-B63E-45CF-B3F5-A6F8EA23D438}" presName="sibTrans" presStyleLbl="sibTrans2D1" presStyleIdx="0" presStyleCnt="4"/>
      <dgm:spPr/>
      <dgm:t>
        <a:bodyPr/>
        <a:lstStyle/>
        <a:p>
          <a:endParaRPr lang="da-DK"/>
        </a:p>
      </dgm:t>
    </dgm:pt>
    <dgm:pt modelId="{971E4BB1-55A1-449F-8B6A-259411F7C58F}" type="pres">
      <dgm:prSet presAssocID="{8395A6BA-EB30-436D-94FF-6BA030DF74A2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95A93048-1AA9-4ABD-976C-5C3674402FEB}" type="pres">
      <dgm:prSet presAssocID="{8395A6BA-EB30-436D-94FF-6BA030DF74A2}" presName="dummy" presStyleCnt="0"/>
      <dgm:spPr/>
    </dgm:pt>
    <dgm:pt modelId="{238F9940-B004-43B1-A4F5-2B02B68ADD71}" type="pres">
      <dgm:prSet presAssocID="{3AC3915F-206F-4609-8BA7-F85D5B5F944E}" presName="sibTrans" presStyleLbl="sibTrans2D1" presStyleIdx="1" presStyleCnt="4"/>
      <dgm:spPr/>
      <dgm:t>
        <a:bodyPr/>
        <a:lstStyle/>
        <a:p>
          <a:endParaRPr lang="da-DK"/>
        </a:p>
      </dgm:t>
    </dgm:pt>
    <dgm:pt modelId="{A7179A44-54A4-4491-9D28-AACCF71B9F2C}" type="pres">
      <dgm:prSet presAssocID="{142D23DE-EED6-4483-BE02-B275387A593A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0E4D16F8-1D57-4BCE-A437-FB3AA795952F}" type="pres">
      <dgm:prSet presAssocID="{142D23DE-EED6-4483-BE02-B275387A593A}" presName="dummy" presStyleCnt="0"/>
      <dgm:spPr/>
    </dgm:pt>
    <dgm:pt modelId="{55B266A7-E76F-4BC0-9FD6-7BAE1FD1A312}" type="pres">
      <dgm:prSet presAssocID="{DEA5A474-34BD-4425-9DF3-EB8A1CA441B4}" presName="sibTrans" presStyleLbl="sibTrans2D1" presStyleIdx="2" presStyleCnt="4"/>
      <dgm:spPr/>
      <dgm:t>
        <a:bodyPr/>
        <a:lstStyle/>
        <a:p>
          <a:endParaRPr lang="da-DK"/>
        </a:p>
      </dgm:t>
    </dgm:pt>
    <dgm:pt modelId="{4015FD51-4A45-4F38-BFFA-727658F2D977}" type="pres">
      <dgm:prSet presAssocID="{51B1FFF7-6EEC-439F-A59A-2E7D2D4E40C0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5D85EC6C-ABF0-4DB0-B0AE-0CD148BD07E9}" type="pres">
      <dgm:prSet presAssocID="{51B1FFF7-6EEC-439F-A59A-2E7D2D4E40C0}" presName="dummy" presStyleCnt="0"/>
      <dgm:spPr/>
    </dgm:pt>
    <dgm:pt modelId="{B15DDD20-5288-4211-B1A0-8FF495856445}" type="pres">
      <dgm:prSet presAssocID="{42C81433-56DA-4F04-B051-9C9BFEE1E5A9}" presName="sibTrans" presStyleLbl="sibTrans2D1" presStyleIdx="3" presStyleCnt="4"/>
      <dgm:spPr/>
      <dgm:t>
        <a:bodyPr/>
        <a:lstStyle/>
        <a:p>
          <a:endParaRPr lang="da-DK"/>
        </a:p>
      </dgm:t>
    </dgm:pt>
  </dgm:ptLst>
  <dgm:cxnLst>
    <dgm:cxn modelId="{A9CFC0DD-9A22-4260-B72D-9861F57043BF}" srcId="{C4FCE2AF-EB08-4184-9F73-C19CB5662F60}" destId="{142D23DE-EED6-4483-BE02-B275387A593A}" srcOrd="2" destOrd="0" parTransId="{D90AD1A4-E1D3-42A3-A5D5-16B8C2F177D9}" sibTransId="{DEA5A474-34BD-4425-9DF3-EB8A1CA441B4}"/>
    <dgm:cxn modelId="{6AB1F9D7-E5C1-4B1D-B012-56EBE0698ADB}" type="presOf" srcId="{8AE4A1B9-DBE0-476B-AAF7-4DA330490092}" destId="{9C33D9BE-1618-40FB-B53A-B254DE01E153}" srcOrd="0" destOrd="0" presId="urn:microsoft.com/office/officeart/2005/8/layout/radial6"/>
    <dgm:cxn modelId="{96241477-706C-42C1-80B8-2DA06C171BAC}" srcId="{8AE4A1B9-DBE0-476B-AAF7-4DA330490092}" destId="{C4FCE2AF-EB08-4184-9F73-C19CB5662F60}" srcOrd="0" destOrd="0" parTransId="{712C08E1-54C0-4C88-8D21-C73FBEC75D7C}" sibTransId="{5B5E71E8-B648-446C-872A-E05F7E16BAC3}"/>
    <dgm:cxn modelId="{EB2A5838-8549-4171-AC45-102698429FEB}" type="presOf" srcId="{F2722EAA-B63E-45CF-B3F5-A6F8EA23D438}" destId="{2C6B8ED8-E1CC-48A7-B532-5173DD83C7F7}" srcOrd="0" destOrd="0" presId="urn:microsoft.com/office/officeart/2005/8/layout/radial6"/>
    <dgm:cxn modelId="{85E4C632-89A1-4852-863C-1D58BA5EEEF9}" type="presOf" srcId="{C4FCE2AF-EB08-4184-9F73-C19CB5662F60}" destId="{E8D406D8-4CFE-4B1D-B3A4-CDA3F734529C}" srcOrd="0" destOrd="0" presId="urn:microsoft.com/office/officeart/2005/8/layout/radial6"/>
    <dgm:cxn modelId="{B428FF05-CC4E-4E77-A1F9-D2224074B59E}" type="presOf" srcId="{142D23DE-EED6-4483-BE02-B275387A593A}" destId="{A7179A44-54A4-4491-9D28-AACCF71B9F2C}" srcOrd="0" destOrd="0" presId="urn:microsoft.com/office/officeart/2005/8/layout/radial6"/>
    <dgm:cxn modelId="{78C4A50E-97D0-4235-8E28-AFC57E6088CA}" srcId="{C4FCE2AF-EB08-4184-9F73-C19CB5662F60}" destId="{6CB22F62-ED44-466E-93E2-A9B29FCFD1F6}" srcOrd="0" destOrd="0" parTransId="{B1F02C5C-B614-4B05-8B46-76948E850B4E}" sibTransId="{F2722EAA-B63E-45CF-B3F5-A6F8EA23D438}"/>
    <dgm:cxn modelId="{5C3F3DF7-F6C3-45CD-9D7D-953236BEF20B}" type="presOf" srcId="{42C81433-56DA-4F04-B051-9C9BFEE1E5A9}" destId="{B15DDD20-5288-4211-B1A0-8FF495856445}" srcOrd="0" destOrd="0" presId="urn:microsoft.com/office/officeart/2005/8/layout/radial6"/>
    <dgm:cxn modelId="{18FC4ADF-0002-40BC-A4E0-19B44C88D7ED}" type="presOf" srcId="{51B1FFF7-6EEC-439F-A59A-2E7D2D4E40C0}" destId="{4015FD51-4A45-4F38-BFFA-727658F2D977}" srcOrd="0" destOrd="0" presId="urn:microsoft.com/office/officeart/2005/8/layout/radial6"/>
    <dgm:cxn modelId="{32296757-2DF6-42B5-A4CB-FE4AA225CDDE}" srcId="{C4FCE2AF-EB08-4184-9F73-C19CB5662F60}" destId="{8395A6BA-EB30-436D-94FF-6BA030DF74A2}" srcOrd="1" destOrd="0" parTransId="{C343E694-24A6-4374-8DD8-6D92DDFB1407}" sibTransId="{3AC3915F-206F-4609-8BA7-F85D5B5F944E}"/>
    <dgm:cxn modelId="{9EDED5E8-85C2-4A5D-99BE-ABA88FEC6615}" srcId="{C4FCE2AF-EB08-4184-9F73-C19CB5662F60}" destId="{51B1FFF7-6EEC-439F-A59A-2E7D2D4E40C0}" srcOrd="3" destOrd="0" parTransId="{517A92E6-298C-4D8B-830D-6256E6164FA9}" sibTransId="{42C81433-56DA-4F04-B051-9C9BFEE1E5A9}"/>
    <dgm:cxn modelId="{469842A0-B914-416F-B92C-599ABA59E371}" type="presOf" srcId="{8395A6BA-EB30-436D-94FF-6BA030DF74A2}" destId="{971E4BB1-55A1-449F-8B6A-259411F7C58F}" srcOrd="0" destOrd="0" presId="urn:microsoft.com/office/officeart/2005/8/layout/radial6"/>
    <dgm:cxn modelId="{C6F7332C-9217-4BA5-9FEE-19E9ECCC87DC}" type="presOf" srcId="{DEA5A474-34BD-4425-9DF3-EB8A1CA441B4}" destId="{55B266A7-E76F-4BC0-9FD6-7BAE1FD1A312}" srcOrd="0" destOrd="0" presId="urn:microsoft.com/office/officeart/2005/8/layout/radial6"/>
    <dgm:cxn modelId="{FC1FCA0A-581C-436A-B693-E310DE34D6BF}" type="presOf" srcId="{6CB22F62-ED44-466E-93E2-A9B29FCFD1F6}" destId="{805039E1-EFA9-4993-BE8E-4216336CE11E}" srcOrd="0" destOrd="0" presId="urn:microsoft.com/office/officeart/2005/8/layout/radial6"/>
    <dgm:cxn modelId="{89FD1CDC-61D0-48C0-B55A-62F16BD0883F}" type="presOf" srcId="{3AC3915F-206F-4609-8BA7-F85D5B5F944E}" destId="{238F9940-B004-43B1-A4F5-2B02B68ADD71}" srcOrd="0" destOrd="0" presId="urn:microsoft.com/office/officeart/2005/8/layout/radial6"/>
    <dgm:cxn modelId="{92446276-0420-4C36-AC55-7BFE565E57AA}" type="presParOf" srcId="{9C33D9BE-1618-40FB-B53A-B254DE01E153}" destId="{E8D406D8-4CFE-4B1D-B3A4-CDA3F734529C}" srcOrd="0" destOrd="0" presId="urn:microsoft.com/office/officeart/2005/8/layout/radial6"/>
    <dgm:cxn modelId="{A904A0D3-64DC-498A-96EC-91461902A923}" type="presParOf" srcId="{9C33D9BE-1618-40FB-B53A-B254DE01E153}" destId="{805039E1-EFA9-4993-BE8E-4216336CE11E}" srcOrd="1" destOrd="0" presId="urn:microsoft.com/office/officeart/2005/8/layout/radial6"/>
    <dgm:cxn modelId="{20800717-AE1A-440E-B6FC-759FEF4FD461}" type="presParOf" srcId="{9C33D9BE-1618-40FB-B53A-B254DE01E153}" destId="{5082A330-4943-4938-B34F-3CBD99327AA8}" srcOrd="2" destOrd="0" presId="urn:microsoft.com/office/officeart/2005/8/layout/radial6"/>
    <dgm:cxn modelId="{D5696EEE-478C-4DE5-9CC8-B89FD33360A2}" type="presParOf" srcId="{9C33D9BE-1618-40FB-B53A-B254DE01E153}" destId="{2C6B8ED8-E1CC-48A7-B532-5173DD83C7F7}" srcOrd="3" destOrd="0" presId="urn:microsoft.com/office/officeart/2005/8/layout/radial6"/>
    <dgm:cxn modelId="{CC13E602-524D-4547-B105-05CD952B48A3}" type="presParOf" srcId="{9C33D9BE-1618-40FB-B53A-B254DE01E153}" destId="{971E4BB1-55A1-449F-8B6A-259411F7C58F}" srcOrd="4" destOrd="0" presId="urn:microsoft.com/office/officeart/2005/8/layout/radial6"/>
    <dgm:cxn modelId="{A762D87D-CE7A-49E0-8156-718BB0300FAF}" type="presParOf" srcId="{9C33D9BE-1618-40FB-B53A-B254DE01E153}" destId="{95A93048-1AA9-4ABD-976C-5C3674402FEB}" srcOrd="5" destOrd="0" presId="urn:microsoft.com/office/officeart/2005/8/layout/radial6"/>
    <dgm:cxn modelId="{04AA21EF-D6E5-4ECF-819F-B068564E4D4C}" type="presParOf" srcId="{9C33D9BE-1618-40FB-B53A-B254DE01E153}" destId="{238F9940-B004-43B1-A4F5-2B02B68ADD71}" srcOrd="6" destOrd="0" presId="urn:microsoft.com/office/officeart/2005/8/layout/radial6"/>
    <dgm:cxn modelId="{4212133F-7514-4AA2-ABA0-D091DF6D3851}" type="presParOf" srcId="{9C33D9BE-1618-40FB-B53A-B254DE01E153}" destId="{A7179A44-54A4-4491-9D28-AACCF71B9F2C}" srcOrd="7" destOrd="0" presId="urn:microsoft.com/office/officeart/2005/8/layout/radial6"/>
    <dgm:cxn modelId="{D08E0938-F704-464C-975E-2E1098B7ABF4}" type="presParOf" srcId="{9C33D9BE-1618-40FB-B53A-B254DE01E153}" destId="{0E4D16F8-1D57-4BCE-A437-FB3AA795952F}" srcOrd="8" destOrd="0" presId="urn:microsoft.com/office/officeart/2005/8/layout/radial6"/>
    <dgm:cxn modelId="{E12C8883-29C1-4A10-B856-3C69A812096F}" type="presParOf" srcId="{9C33D9BE-1618-40FB-B53A-B254DE01E153}" destId="{55B266A7-E76F-4BC0-9FD6-7BAE1FD1A312}" srcOrd="9" destOrd="0" presId="urn:microsoft.com/office/officeart/2005/8/layout/radial6"/>
    <dgm:cxn modelId="{43AB5BCD-F0E3-4E76-B69D-95BA2F8EC925}" type="presParOf" srcId="{9C33D9BE-1618-40FB-B53A-B254DE01E153}" destId="{4015FD51-4A45-4F38-BFFA-727658F2D977}" srcOrd="10" destOrd="0" presId="urn:microsoft.com/office/officeart/2005/8/layout/radial6"/>
    <dgm:cxn modelId="{80333DD6-0979-4759-83C1-DB7844CB4950}" type="presParOf" srcId="{9C33D9BE-1618-40FB-B53A-B254DE01E153}" destId="{5D85EC6C-ABF0-4DB0-B0AE-0CD148BD07E9}" srcOrd="11" destOrd="0" presId="urn:microsoft.com/office/officeart/2005/8/layout/radial6"/>
    <dgm:cxn modelId="{0AB82E13-011B-49C0-B150-C290F00DA44A}" type="presParOf" srcId="{9C33D9BE-1618-40FB-B53A-B254DE01E153}" destId="{B15DDD20-5288-4211-B1A0-8FF495856445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AE4A1B9-DBE0-476B-AAF7-4DA330490092}" type="doc">
      <dgm:prSet loTypeId="urn:microsoft.com/office/officeart/2005/8/layout/radial6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C4FCE2AF-EB08-4184-9F73-C19CB5662F60}">
      <dgm:prSet phldrT="[Tekst]"/>
      <dgm:spPr>
        <a:solidFill>
          <a:srgbClr val="F53BC0"/>
        </a:solidFill>
      </dgm:spPr>
      <dgm:t>
        <a:bodyPr/>
        <a:lstStyle/>
        <a:p>
          <a:r>
            <a:rPr lang="da-DK" dirty="0" smtClean="0"/>
            <a:t>Økonomisk</a:t>
          </a:r>
          <a:r>
            <a:rPr lang="da-DK" baseline="0" dirty="0" smtClean="0"/>
            <a:t> Bæredygtighed</a:t>
          </a:r>
          <a:endParaRPr lang="da-DK" dirty="0"/>
        </a:p>
      </dgm:t>
    </dgm:pt>
    <dgm:pt modelId="{712C08E1-54C0-4C88-8D21-C73FBEC75D7C}" type="parTrans" cxnId="{96241477-706C-42C1-80B8-2DA06C171BAC}">
      <dgm:prSet/>
      <dgm:spPr/>
      <dgm:t>
        <a:bodyPr/>
        <a:lstStyle/>
        <a:p>
          <a:endParaRPr lang="da-DK"/>
        </a:p>
      </dgm:t>
    </dgm:pt>
    <dgm:pt modelId="{5B5E71E8-B648-446C-872A-E05F7E16BAC3}" type="sibTrans" cxnId="{96241477-706C-42C1-80B8-2DA06C171BAC}">
      <dgm:prSet/>
      <dgm:spPr/>
      <dgm:t>
        <a:bodyPr/>
        <a:lstStyle/>
        <a:p>
          <a:endParaRPr lang="da-DK"/>
        </a:p>
      </dgm:t>
    </dgm:pt>
    <dgm:pt modelId="{6CB22F62-ED44-466E-93E2-A9B29FCFD1F6}">
      <dgm:prSet phldrT="[Tekst]"/>
      <dgm:spPr/>
      <dgm:t>
        <a:bodyPr/>
        <a:lstStyle/>
        <a:p>
          <a:r>
            <a:rPr lang="da-DK" dirty="0" smtClean="0"/>
            <a:t>Samfundet</a:t>
          </a:r>
          <a:endParaRPr lang="da-DK" dirty="0"/>
        </a:p>
      </dgm:t>
    </dgm:pt>
    <dgm:pt modelId="{B1F02C5C-B614-4B05-8B46-76948E850B4E}" type="parTrans" cxnId="{78C4A50E-97D0-4235-8E28-AFC57E6088CA}">
      <dgm:prSet/>
      <dgm:spPr/>
      <dgm:t>
        <a:bodyPr/>
        <a:lstStyle/>
        <a:p>
          <a:endParaRPr lang="da-DK"/>
        </a:p>
      </dgm:t>
    </dgm:pt>
    <dgm:pt modelId="{F2722EAA-B63E-45CF-B3F5-A6F8EA23D438}" type="sibTrans" cxnId="{78C4A50E-97D0-4235-8E28-AFC57E6088CA}">
      <dgm:prSet/>
      <dgm:spPr/>
      <dgm:t>
        <a:bodyPr/>
        <a:lstStyle/>
        <a:p>
          <a:endParaRPr lang="da-DK"/>
        </a:p>
      </dgm:t>
    </dgm:pt>
    <dgm:pt modelId="{8395A6BA-EB30-436D-94FF-6BA030DF74A2}">
      <dgm:prSet phldrT="[Tekst]"/>
      <dgm:spPr/>
      <dgm:t>
        <a:bodyPr/>
        <a:lstStyle/>
        <a:p>
          <a:r>
            <a:rPr lang="da-DK" dirty="0" smtClean="0"/>
            <a:t>Individet</a:t>
          </a:r>
          <a:endParaRPr lang="da-DK" dirty="0"/>
        </a:p>
      </dgm:t>
    </dgm:pt>
    <dgm:pt modelId="{C343E694-24A6-4374-8DD8-6D92DDFB1407}" type="parTrans" cxnId="{32296757-2DF6-42B5-A4CB-FE4AA225CDDE}">
      <dgm:prSet/>
      <dgm:spPr/>
      <dgm:t>
        <a:bodyPr/>
        <a:lstStyle/>
        <a:p>
          <a:endParaRPr lang="da-DK"/>
        </a:p>
      </dgm:t>
    </dgm:pt>
    <dgm:pt modelId="{3AC3915F-206F-4609-8BA7-F85D5B5F944E}" type="sibTrans" cxnId="{32296757-2DF6-42B5-A4CB-FE4AA225CDDE}">
      <dgm:prSet/>
      <dgm:spPr/>
      <dgm:t>
        <a:bodyPr/>
        <a:lstStyle/>
        <a:p>
          <a:endParaRPr lang="da-DK"/>
        </a:p>
      </dgm:t>
    </dgm:pt>
    <dgm:pt modelId="{142D23DE-EED6-4483-BE02-B275387A593A}">
      <dgm:prSet phldrT="[Tekst]"/>
      <dgm:spPr/>
      <dgm:t>
        <a:bodyPr/>
        <a:lstStyle/>
        <a:p>
          <a:r>
            <a:rPr lang="da-DK" dirty="0" smtClean="0"/>
            <a:t>Skolerne</a:t>
          </a:r>
          <a:endParaRPr lang="da-DK" dirty="0"/>
        </a:p>
      </dgm:t>
    </dgm:pt>
    <dgm:pt modelId="{D90AD1A4-E1D3-42A3-A5D5-16B8C2F177D9}" type="parTrans" cxnId="{A9CFC0DD-9A22-4260-B72D-9861F57043BF}">
      <dgm:prSet/>
      <dgm:spPr/>
      <dgm:t>
        <a:bodyPr/>
        <a:lstStyle/>
        <a:p>
          <a:endParaRPr lang="da-DK"/>
        </a:p>
      </dgm:t>
    </dgm:pt>
    <dgm:pt modelId="{DEA5A474-34BD-4425-9DF3-EB8A1CA441B4}" type="sibTrans" cxnId="{A9CFC0DD-9A22-4260-B72D-9861F57043BF}">
      <dgm:prSet/>
      <dgm:spPr/>
      <dgm:t>
        <a:bodyPr/>
        <a:lstStyle/>
        <a:p>
          <a:endParaRPr lang="da-DK"/>
        </a:p>
      </dgm:t>
    </dgm:pt>
    <dgm:pt modelId="{51B1FFF7-6EEC-439F-A59A-2E7D2D4E40C0}">
      <dgm:prSet phldrT="[Tekst]" custT="1"/>
      <dgm:spPr>
        <a:solidFill>
          <a:schemeClr val="accent6"/>
        </a:solidFill>
      </dgm:spPr>
      <dgm:t>
        <a:bodyPr/>
        <a:lstStyle/>
        <a:p>
          <a:r>
            <a:rPr lang="da-DK" sz="1400" dirty="0" smtClean="0"/>
            <a:t>Virksomhederne</a:t>
          </a:r>
          <a:endParaRPr lang="da-DK" sz="1400" dirty="0"/>
        </a:p>
      </dgm:t>
    </dgm:pt>
    <dgm:pt modelId="{517A92E6-298C-4D8B-830D-6256E6164FA9}" type="parTrans" cxnId="{9EDED5E8-85C2-4A5D-99BE-ABA88FEC6615}">
      <dgm:prSet/>
      <dgm:spPr/>
      <dgm:t>
        <a:bodyPr/>
        <a:lstStyle/>
        <a:p>
          <a:endParaRPr lang="da-DK"/>
        </a:p>
      </dgm:t>
    </dgm:pt>
    <dgm:pt modelId="{42C81433-56DA-4F04-B051-9C9BFEE1E5A9}" type="sibTrans" cxnId="{9EDED5E8-85C2-4A5D-99BE-ABA88FEC6615}">
      <dgm:prSet/>
      <dgm:spPr/>
      <dgm:t>
        <a:bodyPr/>
        <a:lstStyle/>
        <a:p>
          <a:endParaRPr lang="da-DK"/>
        </a:p>
      </dgm:t>
    </dgm:pt>
    <dgm:pt modelId="{9C33D9BE-1618-40FB-B53A-B254DE01E153}" type="pres">
      <dgm:prSet presAssocID="{8AE4A1B9-DBE0-476B-AAF7-4DA330490092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da-DK"/>
        </a:p>
      </dgm:t>
    </dgm:pt>
    <dgm:pt modelId="{E8D406D8-4CFE-4B1D-B3A4-CDA3F734529C}" type="pres">
      <dgm:prSet presAssocID="{C4FCE2AF-EB08-4184-9F73-C19CB5662F60}" presName="centerShape" presStyleLbl="node0" presStyleIdx="0" presStyleCnt="1"/>
      <dgm:spPr/>
      <dgm:t>
        <a:bodyPr/>
        <a:lstStyle/>
        <a:p>
          <a:endParaRPr lang="da-DK"/>
        </a:p>
      </dgm:t>
    </dgm:pt>
    <dgm:pt modelId="{805039E1-EFA9-4993-BE8E-4216336CE11E}" type="pres">
      <dgm:prSet presAssocID="{6CB22F62-ED44-466E-93E2-A9B29FCFD1F6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5082A330-4943-4938-B34F-3CBD99327AA8}" type="pres">
      <dgm:prSet presAssocID="{6CB22F62-ED44-466E-93E2-A9B29FCFD1F6}" presName="dummy" presStyleCnt="0"/>
      <dgm:spPr/>
    </dgm:pt>
    <dgm:pt modelId="{2C6B8ED8-E1CC-48A7-B532-5173DD83C7F7}" type="pres">
      <dgm:prSet presAssocID="{F2722EAA-B63E-45CF-B3F5-A6F8EA23D438}" presName="sibTrans" presStyleLbl="sibTrans2D1" presStyleIdx="0" presStyleCnt="4"/>
      <dgm:spPr/>
      <dgm:t>
        <a:bodyPr/>
        <a:lstStyle/>
        <a:p>
          <a:endParaRPr lang="da-DK"/>
        </a:p>
      </dgm:t>
    </dgm:pt>
    <dgm:pt modelId="{971E4BB1-55A1-449F-8B6A-259411F7C58F}" type="pres">
      <dgm:prSet presAssocID="{8395A6BA-EB30-436D-94FF-6BA030DF74A2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95A93048-1AA9-4ABD-976C-5C3674402FEB}" type="pres">
      <dgm:prSet presAssocID="{8395A6BA-EB30-436D-94FF-6BA030DF74A2}" presName="dummy" presStyleCnt="0"/>
      <dgm:spPr/>
    </dgm:pt>
    <dgm:pt modelId="{238F9940-B004-43B1-A4F5-2B02B68ADD71}" type="pres">
      <dgm:prSet presAssocID="{3AC3915F-206F-4609-8BA7-F85D5B5F944E}" presName="sibTrans" presStyleLbl="sibTrans2D1" presStyleIdx="1" presStyleCnt="4"/>
      <dgm:spPr/>
      <dgm:t>
        <a:bodyPr/>
        <a:lstStyle/>
        <a:p>
          <a:endParaRPr lang="da-DK"/>
        </a:p>
      </dgm:t>
    </dgm:pt>
    <dgm:pt modelId="{A7179A44-54A4-4491-9D28-AACCF71B9F2C}" type="pres">
      <dgm:prSet presAssocID="{142D23DE-EED6-4483-BE02-B275387A593A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0E4D16F8-1D57-4BCE-A437-FB3AA795952F}" type="pres">
      <dgm:prSet presAssocID="{142D23DE-EED6-4483-BE02-B275387A593A}" presName="dummy" presStyleCnt="0"/>
      <dgm:spPr/>
    </dgm:pt>
    <dgm:pt modelId="{55B266A7-E76F-4BC0-9FD6-7BAE1FD1A312}" type="pres">
      <dgm:prSet presAssocID="{DEA5A474-34BD-4425-9DF3-EB8A1CA441B4}" presName="sibTrans" presStyleLbl="sibTrans2D1" presStyleIdx="2" presStyleCnt="4"/>
      <dgm:spPr/>
      <dgm:t>
        <a:bodyPr/>
        <a:lstStyle/>
        <a:p>
          <a:endParaRPr lang="da-DK"/>
        </a:p>
      </dgm:t>
    </dgm:pt>
    <dgm:pt modelId="{4015FD51-4A45-4F38-BFFA-727658F2D977}" type="pres">
      <dgm:prSet presAssocID="{51B1FFF7-6EEC-439F-A59A-2E7D2D4E40C0}" presName="node" presStyleLbl="node1" presStyleIdx="3" presStyleCnt="4" custScaleX="115471" custScaleY="122798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5D85EC6C-ABF0-4DB0-B0AE-0CD148BD07E9}" type="pres">
      <dgm:prSet presAssocID="{51B1FFF7-6EEC-439F-A59A-2E7D2D4E40C0}" presName="dummy" presStyleCnt="0"/>
      <dgm:spPr/>
    </dgm:pt>
    <dgm:pt modelId="{B15DDD20-5288-4211-B1A0-8FF495856445}" type="pres">
      <dgm:prSet presAssocID="{42C81433-56DA-4F04-B051-9C9BFEE1E5A9}" presName="sibTrans" presStyleLbl="sibTrans2D1" presStyleIdx="3" presStyleCnt="4"/>
      <dgm:spPr/>
      <dgm:t>
        <a:bodyPr/>
        <a:lstStyle/>
        <a:p>
          <a:endParaRPr lang="da-DK"/>
        </a:p>
      </dgm:t>
    </dgm:pt>
  </dgm:ptLst>
  <dgm:cxnLst>
    <dgm:cxn modelId="{A9CFC0DD-9A22-4260-B72D-9861F57043BF}" srcId="{C4FCE2AF-EB08-4184-9F73-C19CB5662F60}" destId="{142D23DE-EED6-4483-BE02-B275387A593A}" srcOrd="2" destOrd="0" parTransId="{D90AD1A4-E1D3-42A3-A5D5-16B8C2F177D9}" sibTransId="{DEA5A474-34BD-4425-9DF3-EB8A1CA441B4}"/>
    <dgm:cxn modelId="{6AB1F9D7-E5C1-4B1D-B012-56EBE0698ADB}" type="presOf" srcId="{8AE4A1B9-DBE0-476B-AAF7-4DA330490092}" destId="{9C33D9BE-1618-40FB-B53A-B254DE01E153}" srcOrd="0" destOrd="0" presId="urn:microsoft.com/office/officeart/2005/8/layout/radial6"/>
    <dgm:cxn modelId="{96241477-706C-42C1-80B8-2DA06C171BAC}" srcId="{8AE4A1B9-DBE0-476B-AAF7-4DA330490092}" destId="{C4FCE2AF-EB08-4184-9F73-C19CB5662F60}" srcOrd="0" destOrd="0" parTransId="{712C08E1-54C0-4C88-8D21-C73FBEC75D7C}" sibTransId="{5B5E71E8-B648-446C-872A-E05F7E16BAC3}"/>
    <dgm:cxn modelId="{EB2A5838-8549-4171-AC45-102698429FEB}" type="presOf" srcId="{F2722EAA-B63E-45CF-B3F5-A6F8EA23D438}" destId="{2C6B8ED8-E1CC-48A7-B532-5173DD83C7F7}" srcOrd="0" destOrd="0" presId="urn:microsoft.com/office/officeart/2005/8/layout/radial6"/>
    <dgm:cxn modelId="{85E4C632-89A1-4852-863C-1D58BA5EEEF9}" type="presOf" srcId="{C4FCE2AF-EB08-4184-9F73-C19CB5662F60}" destId="{E8D406D8-4CFE-4B1D-B3A4-CDA3F734529C}" srcOrd="0" destOrd="0" presId="urn:microsoft.com/office/officeart/2005/8/layout/radial6"/>
    <dgm:cxn modelId="{B428FF05-CC4E-4E77-A1F9-D2224074B59E}" type="presOf" srcId="{142D23DE-EED6-4483-BE02-B275387A593A}" destId="{A7179A44-54A4-4491-9D28-AACCF71B9F2C}" srcOrd="0" destOrd="0" presId="urn:microsoft.com/office/officeart/2005/8/layout/radial6"/>
    <dgm:cxn modelId="{78C4A50E-97D0-4235-8E28-AFC57E6088CA}" srcId="{C4FCE2AF-EB08-4184-9F73-C19CB5662F60}" destId="{6CB22F62-ED44-466E-93E2-A9B29FCFD1F6}" srcOrd="0" destOrd="0" parTransId="{B1F02C5C-B614-4B05-8B46-76948E850B4E}" sibTransId="{F2722EAA-B63E-45CF-B3F5-A6F8EA23D438}"/>
    <dgm:cxn modelId="{5C3F3DF7-F6C3-45CD-9D7D-953236BEF20B}" type="presOf" srcId="{42C81433-56DA-4F04-B051-9C9BFEE1E5A9}" destId="{B15DDD20-5288-4211-B1A0-8FF495856445}" srcOrd="0" destOrd="0" presId="urn:microsoft.com/office/officeart/2005/8/layout/radial6"/>
    <dgm:cxn modelId="{18FC4ADF-0002-40BC-A4E0-19B44C88D7ED}" type="presOf" srcId="{51B1FFF7-6EEC-439F-A59A-2E7D2D4E40C0}" destId="{4015FD51-4A45-4F38-BFFA-727658F2D977}" srcOrd="0" destOrd="0" presId="urn:microsoft.com/office/officeart/2005/8/layout/radial6"/>
    <dgm:cxn modelId="{32296757-2DF6-42B5-A4CB-FE4AA225CDDE}" srcId="{C4FCE2AF-EB08-4184-9F73-C19CB5662F60}" destId="{8395A6BA-EB30-436D-94FF-6BA030DF74A2}" srcOrd="1" destOrd="0" parTransId="{C343E694-24A6-4374-8DD8-6D92DDFB1407}" sibTransId="{3AC3915F-206F-4609-8BA7-F85D5B5F944E}"/>
    <dgm:cxn modelId="{9EDED5E8-85C2-4A5D-99BE-ABA88FEC6615}" srcId="{C4FCE2AF-EB08-4184-9F73-C19CB5662F60}" destId="{51B1FFF7-6EEC-439F-A59A-2E7D2D4E40C0}" srcOrd="3" destOrd="0" parTransId="{517A92E6-298C-4D8B-830D-6256E6164FA9}" sibTransId="{42C81433-56DA-4F04-B051-9C9BFEE1E5A9}"/>
    <dgm:cxn modelId="{469842A0-B914-416F-B92C-599ABA59E371}" type="presOf" srcId="{8395A6BA-EB30-436D-94FF-6BA030DF74A2}" destId="{971E4BB1-55A1-449F-8B6A-259411F7C58F}" srcOrd="0" destOrd="0" presId="urn:microsoft.com/office/officeart/2005/8/layout/radial6"/>
    <dgm:cxn modelId="{C6F7332C-9217-4BA5-9FEE-19E9ECCC87DC}" type="presOf" srcId="{DEA5A474-34BD-4425-9DF3-EB8A1CA441B4}" destId="{55B266A7-E76F-4BC0-9FD6-7BAE1FD1A312}" srcOrd="0" destOrd="0" presId="urn:microsoft.com/office/officeart/2005/8/layout/radial6"/>
    <dgm:cxn modelId="{FC1FCA0A-581C-436A-B693-E310DE34D6BF}" type="presOf" srcId="{6CB22F62-ED44-466E-93E2-A9B29FCFD1F6}" destId="{805039E1-EFA9-4993-BE8E-4216336CE11E}" srcOrd="0" destOrd="0" presId="urn:microsoft.com/office/officeart/2005/8/layout/radial6"/>
    <dgm:cxn modelId="{89FD1CDC-61D0-48C0-B55A-62F16BD0883F}" type="presOf" srcId="{3AC3915F-206F-4609-8BA7-F85D5B5F944E}" destId="{238F9940-B004-43B1-A4F5-2B02B68ADD71}" srcOrd="0" destOrd="0" presId="urn:microsoft.com/office/officeart/2005/8/layout/radial6"/>
    <dgm:cxn modelId="{92446276-0420-4C36-AC55-7BFE565E57AA}" type="presParOf" srcId="{9C33D9BE-1618-40FB-B53A-B254DE01E153}" destId="{E8D406D8-4CFE-4B1D-B3A4-CDA3F734529C}" srcOrd="0" destOrd="0" presId="urn:microsoft.com/office/officeart/2005/8/layout/radial6"/>
    <dgm:cxn modelId="{A904A0D3-64DC-498A-96EC-91461902A923}" type="presParOf" srcId="{9C33D9BE-1618-40FB-B53A-B254DE01E153}" destId="{805039E1-EFA9-4993-BE8E-4216336CE11E}" srcOrd="1" destOrd="0" presId="urn:microsoft.com/office/officeart/2005/8/layout/radial6"/>
    <dgm:cxn modelId="{20800717-AE1A-440E-B6FC-759FEF4FD461}" type="presParOf" srcId="{9C33D9BE-1618-40FB-B53A-B254DE01E153}" destId="{5082A330-4943-4938-B34F-3CBD99327AA8}" srcOrd="2" destOrd="0" presId="urn:microsoft.com/office/officeart/2005/8/layout/radial6"/>
    <dgm:cxn modelId="{D5696EEE-478C-4DE5-9CC8-B89FD33360A2}" type="presParOf" srcId="{9C33D9BE-1618-40FB-B53A-B254DE01E153}" destId="{2C6B8ED8-E1CC-48A7-B532-5173DD83C7F7}" srcOrd="3" destOrd="0" presId="urn:microsoft.com/office/officeart/2005/8/layout/radial6"/>
    <dgm:cxn modelId="{CC13E602-524D-4547-B105-05CD952B48A3}" type="presParOf" srcId="{9C33D9BE-1618-40FB-B53A-B254DE01E153}" destId="{971E4BB1-55A1-449F-8B6A-259411F7C58F}" srcOrd="4" destOrd="0" presId="urn:microsoft.com/office/officeart/2005/8/layout/radial6"/>
    <dgm:cxn modelId="{A762D87D-CE7A-49E0-8156-718BB0300FAF}" type="presParOf" srcId="{9C33D9BE-1618-40FB-B53A-B254DE01E153}" destId="{95A93048-1AA9-4ABD-976C-5C3674402FEB}" srcOrd="5" destOrd="0" presId="urn:microsoft.com/office/officeart/2005/8/layout/radial6"/>
    <dgm:cxn modelId="{04AA21EF-D6E5-4ECF-819F-B068564E4D4C}" type="presParOf" srcId="{9C33D9BE-1618-40FB-B53A-B254DE01E153}" destId="{238F9940-B004-43B1-A4F5-2B02B68ADD71}" srcOrd="6" destOrd="0" presId="urn:microsoft.com/office/officeart/2005/8/layout/radial6"/>
    <dgm:cxn modelId="{4212133F-7514-4AA2-ABA0-D091DF6D3851}" type="presParOf" srcId="{9C33D9BE-1618-40FB-B53A-B254DE01E153}" destId="{A7179A44-54A4-4491-9D28-AACCF71B9F2C}" srcOrd="7" destOrd="0" presId="urn:microsoft.com/office/officeart/2005/8/layout/radial6"/>
    <dgm:cxn modelId="{D08E0938-F704-464C-975E-2E1098B7ABF4}" type="presParOf" srcId="{9C33D9BE-1618-40FB-B53A-B254DE01E153}" destId="{0E4D16F8-1D57-4BCE-A437-FB3AA795952F}" srcOrd="8" destOrd="0" presId="urn:microsoft.com/office/officeart/2005/8/layout/radial6"/>
    <dgm:cxn modelId="{E12C8883-29C1-4A10-B856-3C69A812096F}" type="presParOf" srcId="{9C33D9BE-1618-40FB-B53A-B254DE01E153}" destId="{55B266A7-E76F-4BC0-9FD6-7BAE1FD1A312}" srcOrd="9" destOrd="0" presId="urn:microsoft.com/office/officeart/2005/8/layout/radial6"/>
    <dgm:cxn modelId="{43AB5BCD-F0E3-4E76-B69D-95BA2F8EC925}" type="presParOf" srcId="{9C33D9BE-1618-40FB-B53A-B254DE01E153}" destId="{4015FD51-4A45-4F38-BFFA-727658F2D977}" srcOrd="10" destOrd="0" presId="urn:microsoft.com/office/officeart/2005/8/layout/radial6"/>
    <dgm:cxn modelId="{80333DD6-0979-4759-83C1-DB7844CB4950}" type="presParOf" srcId="{9C33D9BE-1618-40FB-B53A-B254DE01E153}" destId="{5D85EC6C-ABF0-4DB0-B0AE-0CD148BD07E9}" srcOrd="11" destOrd="0" presId="urn:microsoft.com/office/officeart/2005/8/layout/radial6"/>
    <dgm:cxn modelId="{0AB82E13-011B-49C0-B150-C290F00DA44A}" type="presParOf" srcId="{9C33D9BE-1618-40FB-B53A-B254DE01E153}" destId="{B15DDD20-5288-4211-B1A0-8FF495856445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AE4A1B9-DBE0-476B-AAF7-4DA330490092}" type="doc">
      <dgm:prSet loTypeId="urn:microsoft.com/office/officeart/2005/8/layout/radial6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C4FCE2AF-EB08-4184-9F73-C19CB5662F60}">
      <dgm:prSet phldrT="[Tekst]"/>
      <dgm:spPr>
        <a:solidFill>
          <a:srgbClr val="F53BC0"/>
        </a:solidFill>
      </dgm:spPr>
      <dgm:t>
        <a:bodyPr/>
        <a:lstStyle/>
        <a:p>
          <a:r>
            <a:rPr lang="da-DK" dirty="0" smtClean="0"/>
            <a:t>Økonomisk</a:t>
          </a:r>
          <a:r>
            <a:rPr lang="da-DK" baseline="0" dirty="0" smtClean="0"/>
            <a:t> Bæredygtighed</a:t>
          </a:r>
          <a:endParaRPr lang="da-DK" dirty="0"/>
        </a:p>
      </dgm:t>
    </dgm:pt>
    <dgm:pt modelId="{712C08E1-54C0-4C88-8D21-C73FBEC75D7C}" type="parTrans" cxnId="{96241477-706C-42C1-80B8-2DA06C171BAC}">
      <dgm:prSet/>
      <dgm:spPr/>
      <dgm:t>
        <a:bodyPr/>
        <a:lstStyle/>
        <a:p>
          <a:endParaRPr lang="da-DK"/>
        </a:p>
      </dgm:t>
    </dgm:pt>
    <dgm:pt modelId="{5B5E71E8-B648-446C-872A-E05F7E16BAC3}" type="sibTrans" cxnId="{96241477-706C-42C1-80B8-2DA06C171BAC}">
      <dgm:prSet/>
      <dgm:spPr/>
      <dgm:t>
        <a:bodyPr/>
        <a:lstStyle/>
        <a:p>
          <a:endParaRPr lang="da-DK"/>
        </a:p>
      </dgm:t>
    </dgm:pt>
    <dgm:pt modelId="{6CB22F62-ED44-466E-93E2-A9B29FCFD1F6}">
      <dgm:prSet phldrT="[Tekst]"/>
      <dgm:spPr/>
      <dgm:t>
        <a:bodyPr/>
        <a:lstStyle/>
        <a:p>
          <a:r>
            <a:rPr lang="da-DK" dirty="0" smtClean="0"/>
            <a:t>Samfundet</a:t>
          </a:r>
          <a:endParaRPr lang="da-DK" dirty="0"/>
        </a:p>
      </dgm:t>
    </dgm:pt>
    <dgm:pt modelId="{B1F02C5C-B614-4B05-8B46-76948E850B4E}" type="parTrans" cxnId="{78C4A50E-97D0-4235-8E28-AFC57E6088CA}">
      <dgm:prSet/>
      <dgm:spPr/>
      <dgm:t>
        <a:bodyPr/>
        <a:lstStyle/>
        <a:p>
          <a:endParaRPr lang="da-DK"/>
        </a:p>
      </dgm:t>
    </dgm:pt>
    <dgm:pt modelId="{F2722EAA-B63E-45CF-B3F5-A6F8EA23D438}" type="sibTrans" cxnId="{78C4A50E-97D0-4235-8E28-AFC57E6088CA}">
      <dgm:prSet/>
      <dgm:spPr/>
      <dgm:t>
        <a:bodyPr/>
        <a:lstStyle/>
        <a:p>
          <a:endParaRPr lang="da-DK"/>
        </a:p>
      </dgm:t>
    </dgm:pt>
    <dgm:pt modelId="{8395A6BA-EB30-436D-94FF-6BA030DF74A2}">
      <dgm:prSet phldrT="[Tekst]" custT="1"/>
      <dgm:spPr>
        <a:solidFill>
          <a:schemeClr val="accent6"/>
        </a:solidFill>
      </dgm:spPr>
      <dgm:t>
        <a:bodyPr/>
        <a:lstStyle/>
        <a:p>
          <a:r>
            <a:rPr lang="da-DK" sz="2000" dirty="0" smtClean="0"/>
            <a:t>Borgeren</a:t>
          </a:r>
          <a:endParaRPr lang="da-DK" sz="2000" dirty="0"/>
        </a:p>
      </dgm:t>
    </dgm:pt>
    <dgm:pt modelId="{C343E694-24A6-4374-8DD8-6D92DDFB1407}" type="parTrans" cxnId="{32296757-2DF6-42B5-A4CB-FE4AA225CDDE}">
      <dgm:prSet/>
      <dgm:spPr/>
      <dgm:t>
        <a:bodyPr/>
        <a:lstStyle/>
        <a:p>
          <a:endParaRPr lang="da-DK"/>
        </a:p>
      </dgm:t>
    </dgm:pt>
    <dgm:pt modelId="{3AC3915F-206F-4609-8BA7-F85D5B5F944E}" type="sibTrans" cxnId="{32296757-2DF6-42B5-A4CB-FE4AA225CDDE}">
      <dgm:prSet/>
      <dgm:spPr/>
      <dgm:t>
        <a:bodyPr/>
        <a:lstStyle/>
        <a:p>
          <a:endParaRPr lang="da-DK"/>
        </a:p>
      </dgm:t>
    </dgm:pt>
    <dgm:pt modelId="{142D23DE-EED6-4483-BE02-B275387A593A}">
      <dgm:prSet phldrT="[Tekst]"/>
      <dgm:spPr/>
      <dgm:t>
        <a:bodyPr/>
        <a:lstStyle/>
        <a:p>
          <a:r>
            <a:rPr lang="da-DK" dirty="0" smtClean="0"/>
            <a:t>Skolerne</a:t>
          </a:r>
          <a:endParaRPr lang="da-DK" dirty="0"/>
        </a:p>
      </dgm:t>
    </dgm:pt>
    <dgm:pt modelId="{D90AD1A4-E1D3-42A3-A5D5-16B8C2F177D9}" type="parTrans" cxnId="{A9CFC0DD-9A22-4260-B72D-9861F57043BF}">
      <dgm:prSet/>
      <dgm:spPr/>
      <dgm:t>
        <a:bodyPr/>
        <a:lstStyle/>
        <a:p>
          <a:endParaRPr lang="da-DK"/>
        </a:p>
      </dgm:t>
    </dgm:pt>
    <dgm:pt modelId="{DEA5A474-34BD-4425-9DF3-EB8A1CA441B4}" type="sibTrans" cxnId="{A9CFC0DD-9A22-4260-B72D-9861F57043BF}">
      <dgm:prSet/>
      <dgm:spPr/>
      <dgm:t>
        <a:bodyPr/>
        <a:lstStyle/>
        <a:p>
          <a:endParaRPr lang="da-DK"/>
        </a:p>
      </dgm:t>
    </dgm:pt>
    <dgm:pt modelId="{51B1FFF7-6EEC-439F-A59A-2E7D2D4E40C0}">
      <dgm:prSet phldrT="[Tekst]"/>
      <dgm:spPr/>
      <dgm:t>
        <a:bodyPr/>
        <a:lstStyle/>
        <a:p>
          <a:r>
            <a:rPr lang="da-DK" dirty="0" smtClean="0"/>
            <a:t>Virksomhederne</a:t>
          </a:r>
          <a:endParaRPr lang="da-DK" dirty="0"/>
        </a:p>
      </dgm:t>
    </dgm:pt>
    <dgm:pt modelId="{517A92E6-298C-4D8B-830D-6256E6164FA9}" type="parTrans" cxnId="{9EDED5E8-85C2-4A5D-99BE-ABA88FEC6615}">
      <dgm:prSet/>
      <dgm:spPr/>
      <dgm:t>
        <a:bodyPr/>
        <a:lstStyle/>
        <a:p>
          <a:endParaRPr lang="da-DK"/>
        </a:p>
      </dgm:t>
    </dgm:pt>
    <dgm:pt modelId="{42C81433-56DA-4F04-B051-9C9BFEE1E5A9}" type="sibTrans" cxnId="{9EDED5E8-85C2-4A5D-99BE-ABA88FEC6615}">
      <dgm:prSet/>
      <dgm:spPr/>
      <dgm:t>
        <a:bodyPr/>
        <a:lstStyle/>
        <a:p>
          <a:endParaRPr lang="da-DK"/>
        </a:p>
      </dgm:t>
    </dgm:pt>
    <dgm:pt modelId="{9C33D9BE-1618-40FB-B53A-B254DE01E153}" type="pres">
      <dgm:prSet presAssocID="{8AE4A1B9-DBE0-476B-AAF7-4DA330490092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da-DK"/>
        </a:p>
      </dgm:t>
    </dgm:pt>
    <dgm:pt modelId="{E8D406D8-4CFE-4B1D-B3A4-CDA3F734529C}" type="pres">
      <dgm:prSet presAssocID="{C4FCE2AF-EB08-4184-9F73-C19CB5662F60}" presName="centerShape" presStyleLbl="node0" presStyleIdx="0" presStyleCnt="1"/>
      <dgm:spPr/>
      <dgm:t>
        <a:bodyPr/>
        <a:lstStyle/>
        <a:p>
          <a:endParaRPr lang="da-DK"/>
        </a:p>
      </dgm:t>
    </dgm:pt>
    <dgm:pt modelId="{805039E1-EFA9-4993-BE8E-4216336CE11E}" type="pres">
      <dgm:prSet presAssocID="{6CB22F62-ED44-466E-93E2-A9B29FCFD1F6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5082A330-4943-4938-B34F-3CBD99327AA8}" type="pres">
      <dgm:prSet presAssocID="{6CB22F62-ED44-466E-93E2-A9B29FCFD1F6}" presName="dummy" presStyleCnt="0"/>
      <dgm:spPr/>
    </dgm:pt>
    <dgm:pt modelId="{2C6B8ED8-E1CC-48A7-B532-5173DD83C7F7}" type="pres">
      <dgm:prSet presAssocID="{F2722EAA-B63E-45CF-B3F5-A6F8EA23D438}" presName="sibTrans" presStyleLbl="sibTrans2D1" presStyleIdx="0" presStyleCnt="4"/>
      <dgm:spPr/>
      <dgm:t>
        <a:bodyPr/>
        <a:lstStyle/>
        <a:p>
          <a:endParaRPr lang="da-DK"/>
        </a:p>
      </dgm:t>
    </dgm:pt>
    <dgm:pt modelId="{971E4BB1-55A1-449F-8B6A-259411F7C58F}" type="pres">
      <dgm:prSet presAssocID="{8395A6BA-EB30-436D-94FF-6BA030DF74A2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95A93048-1AA9-4ABD-976C-5C3674402FEB}" type="pres">
      <dgm:prSet presAssocID="{8395A6BA-EB30-436D-94FF-6BA030DF74A2}" presName="dummy" presStyleCnt="0"/>
      <dgm:spPr/>
    </dgm:pt>
    <dgm:pt modelId="{238F9940-B004-43B1-A4F5-2B02B68ADD71}" type="pres">
      <dgm:prSet presAssocID="{3AC3915F-206F-4609-8BA7-F85D5B5F944E}" presName="sibTrans" presStyleLbl="sibTrans2D1" presStyleIdx="1" presStyleCnt="4"/>
      <dgm:spPr/>
      <dgm:t>
        <a:bodyPr/>
        <a:lstStyle/>
        <a:p>
          <a:endParaRPr lang="da-DK"/>
        </a:p>
      </dgm:t>
    </dgm:pt>
    <dgm:pt modelId="{A7179A44-54A4-4491-9D28-AACCF71B9F2C}" type="pres">
      <dgm:prSet presAssocID="{142D23DE-EED6-4483-BE02-B275387A593A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0E4D16F8-1D57-4BCE-A437-FB3AA795952F}" type="pres">
      <dgm:prSet presAssocID="{142D23DE-EED6-4483-BE02-B275387A593A}" presName="dummy" presStyleCnt="0"/>
      <dgm:spPr/>
    </dgm:pt>
    <dgm:pt modelId="{55B266A7-E76F-4BC0-9FD6-7BAE1FD1A312}" type="pres">
      <dgm:prSet presAssocID="{DEA5A474-34BD-4425-9DF3-EB8A1CA441B4}" presName="sibTrans" presStyleLbl="sibTrans2D1" presStyleIdx="2" presStyleCnt="4"/>
      <dgm:spPr/>
      <dgm:t>
        <a:bodyPr/>
        <a:lstStyle/>
        <a:p>
          <a:endParaRPr lang="da-DK"/>
        </a:p>
      </dgm:t>
    </dgm:pt>
    <dgm:pt modelId="{4015FD51-4A45-4F38-BFFA-727658F2D977}" type="pres">
      <dgm:prSet presAssocID="{51B1FFF7-6EEC-439F-A59A-2E7D2D4E40C0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5D85EC6C-ABF0-4DB0-B0AE-0CD148BD07E9}" type="pres">
      <dgm:prSet presAssocID="{51B1FFF7-6EEC-439F-A59A-2E7D2D4E40C0}" presName="dummy" presStyleCnt="0"/>
      <dgm:spPr/>
    </dgm:pt>
    <dgm:pt modelId="{B15DDD20-5288-4211-B1A0-8FF495856445}" type="pres">
      <dgm:prSet presAssocID="{42C81433-56DA-4F04-B051-9C9BFEE1E5A9}" presName="sibTrans" presStyleLbl="sibTrans2D1" presStyleIdx="3" presStyleCnt="4"/>
      <dgm:spPr/>
      <dgm:t>
        <a:bodyPr/>
        <a:lstStyle/>
        <a:p>
          <a:endParaRPr lang="da-DK"/>
        </a:p>
      </dgm:t>
    </dgm:pt>
  </dgm:ptLst>
  <dgm:cxnLst>
    <dgm:cxn modelId="{A9CFC0DD-9A22-4260-B72D-9861F57043BF}" srcId="{C4FCE2AF-EB08-4184-9F73-C19CB5662F60}" destId="{142D23DE-EED6-4483-BE02-B275387A593A}" srcOrd="2" destOrd="0" parTransId="{D90AD1A4-E1D3-42A3-A5D5-16B8C2F177D9}" sibTransId="{DEA5A474-34BD-4425-9DF3-EB8A1CA441B4}"/>
    <dgm:cxn modelId="{6AB1F9D7-E5C1-4B1D-B012-56EBE0698ADB}" type="presOf" srcId="{8AE4A1B9-DBE0-476B-AAF7-4DA330490092}" destId="{9C33D9BE-1618-40FB-B53A-B254DE01E153}" srcOrd="0" destOrd="0" presId="urn:microsoft.com/office/officeart/2005/8/layout/radial6"/>
    <dgm:cxn modelId="{96241477-706C-42C1-80B8-2DA06C171BAC}" srcId="{8AE4A1B9-DBE0-476B-AAF7-4DA330490092}" destId="{C4FCE2AF-EB08-4184-9F73-C19CB5662F60}" srcOrd="0" destOrd="0" parTransId="{712C08E1-54C0-4C88-8D21-C73FBEC75D7C}" sibTransId="{5B5E71E8-B648-446C-872A-E05F7E16BAC3}"/>
    <dgm:cxn modelId="{EB2A5838-8549-4171-AC45-102698429FEB}" type="presOf" srcId="{F2722EAA-B63E-45CF-B3F5-A6F8EA23D438}" destId="{2C6B8ED8-E1CC-48A7-B532-5173DD83C7F7}" srcOrd="0" destOrd="0" presId="urn:microsoft.com/office/officeart/2005/8/layout/radial6"/>
    <dgm:cxn modelId="{85E4C632-89A1-4852-863C-1D58BA5EEEF9}" type="presOf" srcId="{C4FCE2AF-EB08-4184-9F73-C19CB5662F60}" destId="{E8D406D8-4CFE-4B1D-B3A4-CDA3F734529C}" srcOrd="0" destOrd="0" presId="urn:microsoft.com/office/officeart/2005/8/layout/radial6"/>
    <dgm:cxn modelId="{B428FF05-CC4E-4E77-A1F9-D2224074B59E}" type="presOf" srcId="{142D23DE-EED6-4483-BE02-B275387A593A}" destId="{A7179A44-54A4-4491-9D28-AACCF71B9F2C}" srcOrd="0" destOrd="0" presId="urn:microsoft.com/office/officeart/2005/8/layout/radial6"/>
    <dgm:cxn modelId="{78C4A50E-97D0-4235-8E28-AFC57E6088CA}" srcId="{C4FCE2AF-EB08-4184-9F73-C19CB5662F60}" destId="{6CB22F62-ED44-466E-93E2-A9B29FCFD1F6}" srcOrd="0" destOrd="0" parTransId="{B1F02C5C-B614-4B05-8B46-76948E850B4E}" sibTransId="{F2722EAA-B63E-45CF-B3F5-A6F8EA23D438}"/>
    <dgm:cxn modelId="{5C3F3DF7-F6C3-45CD-9D7D-953236BEF20B}" type="presOf" srcId="{42C81433-56DA-4F04-B051-9C9BFEE1E5A9}" destId="{B15DDD20-5288-4211-B1A0-8FF495856445}" srcOrd="0" destOrd="0" presId="urn:microsoft.com/office/officeart/2005/8/layout/radial6"/>
    <dgm:cxn modelId="{18FC4ADF-0002-40BC-A4E0-19B44C88D7ED}" type="presOf" srcId="{51B1FFF7-6EEC-439F-A59A-2E7D2D4E40C0}" destId="{4015FD51-4A45-4F38-BFFA-727658F2D977}" srcOrd="0" destOrd="0" presId="urn:microsoft.com/office/officeart/2005/8/layout/radial6"/>
    <dgm:cxn modelId="{32296757-2DF6-42B5-A4CB-FE4AA225CDDE}" srcId="{C4FCE2AF-EB08-4184-9F73-C19CB5662F60}" destId="{8395A6BA-EB30-436D-94FF-6BA030DF74A2}" srcOrd="1" destOrd="0" parTransId="{C343E694-24A6-4374-8DD8-6D92DDFB1407}" sibTransId="{3AC3915F-206F-4609-8BA7-F85D5B5F944E}"/>
    <dgm:cxn modelId="{9EDED5E8-85C2-4A5D-99BE-ABA88FEC6615}" srcId="{C4FCE2AF-EB08-4184-9F73-C19CB5662F60}" destId="{51B1FFF7-6EEC-439F-A59A-2E7D2D4E40C0}" srcOrd="3" destOrd="0" parTransId="{517A92E6-298C-4D8B-830D-6256E6164FA9}" sibTransId="{42C81433-56DA-4F04-B051-9C9BFEE1E5A9}"/>
    <dgm:cxn modelId="{469842A0-B914-416F-B92C-599ABA59E371}" type="presOf" srcId="{8395A6BA-EB30-436D-94FF-6BA030DF74A2}" destId="{971E4BB1-55A1-449F-8B6A-259411F7C58F}" srcOrd="0" destOrd="0" presId="urn:microsoft.com/office/officeart/2005/8/layout/radial6"/>
    <dgm:cxn modelId="{C6F7332C-9217-4BA5-9FEE-19E9ECCC87DC}" type="presOf" srcId="{DEA5A474-34BD-4425-9DF3-EB8A1CA441B4}" destId="{55B266A7-E76F-4BC0-9FD6-7BAE1FD1A312}" srcOrd="0" destOrd="0" presId="urn:microsoft.com/office/officeart/2005/8/layout/radial6"/>
    <dgm:cxn modelId="{FC1FCA0A-581C-436A-B693-E310DE34D6BF}" type="presOf" srcId="{6CB22F62-ED44-466E-93E2-A9B29FCFD1F6}" destId="{805039E1-EFA9-4993-BE8E-4216336CE11E}" srcOrd="0" destOrd="0" presId="urn:microsoft.com/office/officeart/2005/8/layout/radial6"/>
    <dgm:cxn modelId="{89FD1CDC-61D0-48C0-B55A-62F16BD0883F}" type="presOf" srcId="{3AC3915F-206F-4609-8BA7-F85D5B5F944E}" destId="{238F9940-B004-43B1-A4F5-2B02B68ADD71}" srcOrd="0" destOrd="0" presId="urn:microsoft.com/office/officeart/2005/8/layout/radial6"/>
    <dgm:cxn modelId="{92446276-0420-4C36-AC55-7BFE565E57AA}" type="presParOf" srcId="{9C33D9BE-1618-40FB-B53A-B254DE01E153}" destId="{E8D406D8-4CFE-4B1D-B3A4-CDA3F734529C}" srcOrd="0" destOrd="0" presId="urn:microsoft.com/office/officeart/2005/8/layout/radial6"/>
    <dgm:cxn modelId="{A904A0D3-64DC-498A-96EC-91461902A923}" type="presParOf" srcId="{9C33D9BE-1618-40FB-B53A-B254DE01E153}" destId="{805039E1-EFA9-4993-BE8E-4216336CE11E}" srcOrd="1" destOrd="0" presId="urn:microsoft.com/office/officeart/2005/8/layout/radial6"/>
    <dgm:cxn modelId="{20800717-AE1A-440E-B6FC-759FEF4FD461}" type="presParOf" srcId="{9C33D9BE-1618-40FB-B53A-B254DE01E153}" destId="{5082A330-4943-4938-B34F-3CBD99327AA8}" srcOrd="2" destOrd="0" presId="urn:microsoft.com/office/officeart/2005/8/layout/radial6"/>
    <dgm:cxn modelId="{D5696EEE-478C-4DE5-9CC8-B89FD33360A2}" type="presParOf" srcId="{9C33D9BE-1618-40FB-B53A-B254DE01E153}" destId="{2C6B8ED8-E1CC-48A7-B532-5173DD83C7F7}" srcOrd="3" destOrd="0" presId="urn:microsoft.com/office/officeart/2005/8/layout/radial6"/>
    <dgm:cxn modelId="{CC13E602-524D-4547-B105-05CD952B48A3}" type="presParOf" srcId="{9C33D9BE-1618-40FB-B53A-B254DE01E153}" destId="{971E4BB1-55A1-449F-8B6A-259411F7C58F}" srcOrd="4" destOrd="0" presId="urn:microsoft.com/office/officeart/2005/8/layout/radial6"/>
    <dgm:cxn modelId="{A762D87D-CE7A-49E0-8156-718BB0300FAF}" type="presParOf" srcId="{9C33D9BE-1618-40FB-B53A-B254DE01E153}" destId="{95A93048-1AA9-4ABD-976C-5C3674402FEB}" srcOrd="5" destOrd="0" presId="urn:microsoft.com/office/officeart/2005/8/layout/radial6"/>
    <dgm:cxn modelId="{04AA21EF-D6E5-4ECF-819F-B068564E4D4C}" type="presParOf" srcId="{9C33D9BE-1618-40FB-B53A-B254DE01E153}" destId="{238F9940-B004-43B1-A4F5-2B02B68ADD71}" srcOrd="6" destOrd="0" presId="urn:microsoft.com/office/officeart/2005/8/layout/radial6"/>
    <dgm:cxn modelId="{4212133F-7514-4AA2-ABA0-D091DF6D3851}" type="presParOf" srcId="{9C33D9BE-1618-40FB-B53A-B254DE01E153}" destId="{A7179A44-54A4-4491-9D28-AACCF71B9F2C}" srcOrd="7" destOrd="0" presId="urn:microsoft.com/office/officeart/2005/8/layout/radial6"/>
    <dgm:cxn modelId="{D08E0938-F704-464C-975E-2E1098B7ABF4}" type="presParOf" srcId="{9C33D9BE-1618-40FB-B53A-B254DE01E153}" destId="{0E4D16F8-1D57-4BCE-A437-FB3AA795952F}" srcOrd="8" destOrd="0" presId="urn:microsoft.com/office/officeart/2005/8/layout/radial6"/>
    <dgm:cxn modelId="{E12C8883-29C1-4A10-B856-3C69A812096F}" type="presParOf" srcId="{9C33D9BE-1618-40FB-B53A-B254DE01E153}" destId="{55B266A7-E76F-4BC0-9FD6-7BAE1FD1A312}" srcOrd="9" destOrd="0" presId="urn:microsoft.com/office/officeart/2005/8/layout/radial6"/>
    <dgm:cxn modelId="{43AB5BCD-F0E3-4E76-B69D-95BA2F8EC925}" type="presParOf" srcId="{9C33D9BE-1618-40FB-B53A-B254DE01E153}" destId="{4015FD51-4A45-4F38-BFFA-727658F2D977}" srcOrd="10" destOrd="0" presId="urn:microsoft.com/office/officeart/2005/8/layout/radial6"/>
    <dgm:cxn modelId="{80333DD6-0979-4759-83C1-DB7844CB4950}" type="presParOf" srcId="{9C33D9BE-1618-40FB-B53A-B254DE01E153}" destId="{5D85EC6C-ABF0-4DB0-B0AE-0CD148BD07E9}" srcOrd="11" destOrd="0" presId="urn:microsoft.com/office/officeart/2005/8/layout/radial6"/>
    <dgm:cxn modelId="{0AB82E13-011B-49C0-B150-C290F00DA44A}" type="presParOf" srcId="{9C33D9BE-1618-40FB-B53A-B254DE01E153}" destId="{B15DDD20-5288-4211-B1A0-8FF495856445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AE4A1B9-DBE0-476B-AAF7-4DA330490092}" type="doc">
      <dgm:prSet loTypeId="urn:microsoft.com/office/officeart/2005/8/layout/radial6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C4FCE2AF-EB08-4184-9F73-C19CB5662F60}">
      <dgm:prSet phldrT="[Tekst]"/>
      <dgm:spPr>
        <a:solidFill>
          <a:srgbClr val="F53BC0"/>
        </a:solidFill>
      </dgm:spPr>
      <dgm:t>
        <a:bodyPr/>
        <a:lstStyle/>
        <a:p>
          <a:r>
            <a:rPr lang="da-DK" dirty="0" smtClean="0"/>
            <a:t>Økonomisk</a:t>
          </a:r>
          <a:r>
            <a:rPr lang="da-DK" baseline="0" dirty="0" smtClean="0"/>
            <a:t> Bæredygtighed</a:t>
          </a:r>
          <a:endParaRPr lang="da-DK" dirty="0"/>
        </a:p>
      </dgm:t>
    </dgm:pt>
    <dgm:pt modelId="{712C08E1-54C0-4C88-8D21-C73FBEC75D7C}" type="parTrans" cxnId="{96241477-706C-42C1-80B8-2DA06C171BAC}">
      <dgm:prSet/>
      <dgm:spPr/>
      <dgm:t>
        <a:bodyPr/>
        <a:lstStyle/>
        <a:p>
          <a:endParaRPr lang="da-DK"/>
        </a:p>
      </dgm:t>
    </dgm:pt>
    <dgm:pt modelId="{5B5E71E8-B648-446C-872A-E05F7E16BAC3}" type="sibTrans" cxnId="{96241477-706C-42C1-80B8-2DA06C171BAC}">
      <dgm:prSet/>
      <dgm:spPr/>
      <dgm:t>
        <a:bodyPr/>
        <a:lstStyle/>
        <a:p>
          <a:endParaRPr lang="da-DK"/>
        </a:p>
      </dgm:t>
    </dgm:pt>
    <dgm:pt modelId="{6CB22F62-ED44-466E-93E2-A9B29FCFD1F6}">
      <dgm:prSet phldrT="[Tekst]"/>
      <dgm:spPr/>
      <dgm:t>
        <a:bodyPr/>
        <a:lstStyle/>
        <a:p>
          <a:r>
            <a:rPr lang="da-DK" dirty="0" smtClean="0"/>
            <a:t>Samfundet</a:t>
          </a:r>
          <a:endParaRPr lang="da-DK" dirty="0"/>
        </a:p>
      </dgm:t>
    </dgm:pt>
    <dgm:pt modelId="{B1F02C5C-B614-4B05-8B46-76948E850B4E}" type="parTrans" cxnId="{78C4A50E-97D0-4235-8E28-AFC57E6088CA}">
      <dgm:prSet/>
      <dgm:spPr/>
      <dgm:t>
        <a:bodyPr/>
        <a:lstStyle/>
        <a:p>
          <a:endParaRPr lang="da-DK"/>
        </a:p>
      </dgm:t>
    </dgm:pt>
    <dgm:pt modelId="{F2722EAA-B63E-45CF-B3F5-A6F8EA23D438}" type="sibTrans" cxnId="{78C4A50E-97D0-4235-8E28-AFC57E6088CA}">
      <dgm:prSet/>
      <dgm:spPr/>
      <dgm:t>
        <a:bodyPr/>
        <a:lstStyle/>
        <a:p>
          <a:endParaRPr lang="da-DK"/>
        </a:p>
      </dgm:t>
    </dgm:pt>
    <dgm:pt modelId="{8395A6BA-EB30-436D-94FF-6BA030DF74A2}">
      <dgm:prSet phldrT="[Tekst]"/>
      <dgm:spPr/>
      <dgm:t>
        <a:bodyPr/>
        <a:lstStyle/>
        <a:p>
          <a:r>
            <a:rPr lang="da-DK" dirty="0" smtClean="0"/>
            <a:t>Individet</a:t>
          </a:r>
          <a:endParaRPr lang="da-DK" dirty="0"/>
        </a:p>
      </dgm:t>
    </dgm:pt>
    <dgm:pt modelId="{C343E694-24A6-4374-8DD8-6D92DDFB1407}" type="parTrans" cxnId="{32296757-2DF6-42B5-A4CB-FE4AA225CDDE}">
      <dgm:prSet/>
      <dgm:spPr/>
      <dgm:t>
        <a:bodyPr/>
        <a:lstStyle/>
        <a:p>
          <a:endParaRPr lang="da-DK"/>
        </a:p>
      </dgm:t>
    </dgm:pt>
    <dgm:pt modelId="{3AC3915F-206F-4609-8BA7-F85D5B5F944E}" type="sibTrans" cxnId="{32296757-2DF6-42B5-A4CB-FE4AA225CDDE}">
      <dgm:prSet/>
      <dgm:spPr/>
      <dgm:t>
        <a:bodyPr/>
        <a:lstStyle/>
        <a:p>
          <a:endParaRPr lang="da-DK"/>
        </a:p>
      </dgm:t>
    </dgm:pt>
    <dgm:pt modelId="{142D23DE-EED6-4483-BE02-B275387A593A}">
      <dgm:prSet phldrT="[Tekst]" custT="1"/>
      <dgm:spPr>
        <a:solidFill>
          <a:schemeClr val="accent6"/>
        </a:solidFill>
      </dgm:spPr>
      <dgm:t>
        <a:bodyPr/>
        <a:lstStyle/>
        <a:p>
          <a:r>
            <a:rPr lang="da-DK" sz="2400" dirty="0" smtClean="0"/>
            <a:t>Skolerne</a:t>
          </a:r>
          <a:endParaRPr lang="da-DK" sz="2400" dirty="0"/>
        </a:p>
      </dgm:t>
    </dgm:pt>
    <dgm:pt modelId="{D90AD1A4-E1D3-42A3-A5D5-16B8C2F177D9}" type="parTrans" cxnId="{A9CFC0DD-9A22-4260-B72D-9861F57043BF}">
      <dgm:prSet/>
      <dgm:spPr/>
      <dgm:t>
        <a:bodyPr/>
        <a:lstStyle/>
        <a:p>
          <a:endParaRPr lang="da-DK"/>
        </a:p>
      </dgm:t>
    </dgm:pt>
    <dgm:pt modelId="{DEA5A474-34BD-4425-9DF3-EB8A1CA441B4}" type="sibTrans" cxnId="{A9CFC0DD-9A22-4260-B72D-9861F57043BF}">
      <dgm:prSet/>
      <dgm:spPr/>
      <dgm:t>
        <a:bodyPr/>
        <a:lstStyle/>
        <a:p>
          <a:endParaRPr lang="da-DK"/>
        </a:p>
      </dgm:t>
    </dgm:pt>
    <dgm:pt modelId="{51B1FFF7-6EEC-439F-A59A-2E7D2D4E40C0}">
      <dgm:prSet phldrT="[Tekst]"/>
      <dgm:spPr/>
      <dgm:t>
        <a:bodyPr/>
        <a:lstStyle/>
        <a:p>
          <a:r>
            <a:rPr lang="da-DK" dirty="0" smtClean="0"/>
            <a:t>Virksomhederne</a:t>
          </a:r>
          <a:endParaRPr lang="da-DK" dirty="0"/>
        </a:p>
      </dgm:t>
    </dgm:pt>
    <dgm:pt modelId="{517A92E6-298C-4D8B-830D-6256E6164FA9}" type="parTrans" cxnId="{9EDED5E8-85C2-4A5D-99BE-ABA88FEC6615}">
      <dgm:prSet/>
      <dgm:spPr/>
      <dgm:t>
        <a:bodyPr/>
        <a:lstStyle/>
        <a:p>
          <a:endParaRPr lang="da-DK"/>
        </a:p>
      </dgm:t>
    </dgm:pt>
    <dgm:pt modelId="{42C81433-56DA-4F04-B051-9C9BFEE1E5A9}" type="sibTrans" cxnId="{9EDED5E8-85C2-4A5D-99BE-ABA88FEC6615}">
      <dgm:prSet/>
      <dgm:spPr/>
      <dgm:t>
        <a:bodyPr/>
        <a:lstStyle/>
        <a:p>
          <a:endParaRPr lang="da-DK"/>
        </a:p>
      </dgm:t>
    </dgm:pt>
    <dgm:pt modelId="{9C33D9BE-1618-40FB-B53A-B254DE01E153}" type="pres">
      <dgm:prSet presAssocID="{8AE4A1B9-DBE0-476B-AAF7-4DA330490092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da-DK"/>
        </a:p>
      </dgm:t>
    </dgm:pt>
    <dgm:pt modelId="{E8D406D8-4CFE-4B1D-B3A4-CDA3F734529C}" type="pres">
      <dgm:prSet presAssocID="{C4FCE2AF-EB08-4184-9F73-C19CB5662F60}" presName="centerShape" presStyleLbl="node0" presStyleIdx="0" presStyleCnt="1"/>
      <dgm:spPr/>
      <dgm:t>
        <a:bodyPr/>
        <a:lstStyle/>
        <a:p>
          <a:endParaRPr lang="da-DK"/>
        </a:p>
      </dgm:t>
    </dgm:pt>
    <dgm:pt modelId="{805039E1-EFA9-4993-BE8E-4216336CE11E}" type="pres">
      <dgm:prSet presAssocID="{6CB22F62-ED44-466E-93E2-A9B29FCFD1F6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5082A330-4943-4938-B34F-3CBD99327AA8}" type="pres">
      <dgm:prSet presAssocID="{6CB22F62-ED44-466E-93E2-A9B29FCFD1F6}" presName="dummy" presStyleCnt="0"/>
      <dgm:spPr/>
    </dgm:pt>
    <dgm:pt modelId="{2C6B8ED8-E1CC-48A7-B532-5173DD83C7F7}" type="pres">
      <dgm:prSet presAssocID="{F2722EAA-B63E-45CF-B3F5-A6F8EA23D438}" presName="sibTrans" presStyleLbl="sibTrans2D1" presStyleIdx="0" presStyleCnt="4"/>
      <dgm:spPr/>
      <dgm:t>
        <a:bodyPr/>
        <a:lstStyle/>
        <a:p>
          <a:endParaRPr lang="da-DK"/>
        </a:p>
      </dgm:t>
    </dgm:pt>
    <dgm:pt modelId="{971E4BB1-55A1-449F-8B6A-259411F7C58F}" type="pres">
      <dgm:prSet presAssocID="{8395A6BA-EB30-436D-94FF-6BA030DF74A2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95A93048-1AA9-4ABD-976C-5C3674402FEB}" type="pres">
      <dgm:prSet presAssocID="{8395A6BA-EB30-436D-94FF-6BA030DF74A2}" presName="dummy" presStyleCnt="0"/>
      <dgm:spPr/>
    </dgm:pt>
    <dgm:pt modelId="{238F9940-B004-43B1-A4F5-2B02B68ADD71}" type="pres">
      <dgm:prSet presAssocID="{3AC3915F-206F-4609-8BA7-F85D5B5F944E}" presName="sibTrans" presStyleLbl="sibTrans2D1" presStyleIdx="1" presStyleCnt="4"/>
      <dgm:spPr/>
      <dgm:t>
        <a:bodyPr/>
        <a:lstStyle/>
        <a:p>
          <a:endParaRPr lang="da-DK"/>
        </a:p>
      </dgm:t>
    </dgm:pt>
    <dgm:pt modelId="{A7179A44-54A4-4491-9D28-AACCF71B9F2C}" type="pres">
      <dgm:prSet presAssocID="{142D23DE-EED6-4483-BE02-B275387A593A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0E4D16F8-1D57-4BCE-A437-FB3AA795952F}" type="pres">
      <dgm:prSet presAssocID="{142D23DE-EED6-4483-BE02-B275387A593A}" presName="dummy" presStyleCnt="0"/>
      <dgm:spPr/>
    </dgm:pt>
    <dgm:pt modelId="{55B266A7-E76F-4BC0-9FD6-7BAE1FD1A312}" type="pres">
      <dgm:prSet presAssocID="{DEA5A474-34BD-4425-9DF3-EB8A1CA441B4}" presName="sibTrans" presStyleLbl="sibTrans2D1" presStyleIdx="2" presStyleCnt="4"/>
      <dgm:spPr/>
      <dgm:t>
        <a:bodyPr/>
        <a:lstStyle/>
        <a:p>
          <a:endParaRPr lang="da-DK"/>
        </a:p>
      </dgm:t>
    </dgm:pt>
    <dgm:pt modelId="{4015FD51-4A45-4F38-BFFA-727658F2D977}" type="pres">
      <dgm:prSet presAssocID="{51B1FFF7-6EEC-439F-A59A-2E7D2D4E40C0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5D85EC6C-ABF0-4DB0-B0AE-0CD148BD07E9}" type="pres">
      <dgm:prSet presAssocID="{51B1FFF7-6EEC-439F-A59A-2E7D2D4E40C0}" presName="dummy" presStyleCnt="0"/>
      <dgm:spPr/>
    </dgm:pt>
    <dgm:pt modelId="{B15DDD20-5288-4211-B1A0-8FF495856445}" type="pres">
      <dgm:prSet presAssocID="{42C81433-56DA-4F04-B051-9C9BFEE1E5A9}" presName="sibTrans" presStyleLbl="sibTrans2D1" presStyleIdx="3" presStyleCnt="4"/>
      <dgm:spPr/>
      <dgm:t>
        <a:bodyPr/>
        <a:lstStyle/>
        <a:p>
          <a:endParaRPr lang="da-DK"/>
        </a:p>
      </dgm:t>
    </dgm:pt>
  </dgm:ptLst>
  <dgm:cxnLst>
    <dgm:cxn modelId="{A9CFC0DD-9A22-4260-B72D-9861F57043BF}" srcId="{C4FCE2AF-EB08-4184-9F73-C19CB5662F60}" destId="{142D23DE-EED6-4483-BE02-B275387A593A}" srcOrd="2" destOrd="0" parTransId="{D90AD1A4-E1D3-42A3-A5D5-16B8C2F177D9}" sibTransId="{DEA5A474-34BD-4425-9DF3-EB8A1CA441B4}"/>
    <dgm:cxn modelId="{6AB1F9D7-E5C1-4B1D-B012-56EBE0698ADB}" type="presOf" srcId="{8AE4A1B9-DBE0-476B-AAF7-4DA330490092}" destId="{9C33D9BE-1618-40FB-B53A-B254DE01E153}" srcOrd="0" destOrd="0" presId="urn:microsoft.com/office/officeart/2005/8/layout/radial6"/>
    <dgm:cxn modelId="{96241477-706C-42C1-80B8-2DA06C171BAC}" srcId="{8AE4A1B9-DBE0-476B-AAF7-4DA330490092}" destId="{C4FCE2AF-EB08-4184-9F73-C19CB5662F60}" srcOrd="0" destOrd="0" parTransId="{712C08E1-54C0-4C88-8D21-C73FBEC75D7C}" sibTransId="{5B5E71E8-B648-446C-872A-E05F7E16BAC3}"/>
    <dgm:cxn modelId="{EB2A5838-8549-4171-AC45-102698429FEB}" type="presOf" srcId="{F2722EAA-B63E-45CF-B3F5-A6F8EA23D438}" destId="{2C6B8ED8-E1CC-48A7-B532-5173DD83C7F7}" srcOrd="0" destOrd="0" presId="urn:microsoft.com/office/officeart/2005/8/layout/radial6"/>
    <dgm:cxn modelId="{85E4C632-89A1-4852-863C-1D58BA5EEEF9}" type="presOf" srcId="{C4FCE2AF-EB08-4184-9F73-C19CB5662F60}" destId="{E8D406D8-4CFE-4B1D-B3A4-CDA3F734529C}" srcOrd="0" destOrd="0" presId="urn:microsoft.com/office/officeart/2005/8/layout/radial6"/>
    <dgm:cxn modelId="{B428FF05-CC4E-4E77-A1F9-D2224074B59E}" type="presOf" srcId="{142D23DE-EED6-4483-BE02-B275387A593A}" destId="{A7179A44-54A4-4491-9D28-AACCF71B9F2C}" srcOrd="0" destOrd="0" presId="urn:microsoft.com/office/officeart/2005/8/layout/radial6"/>
    <dgm:cxn modelId="{78C4A50E-97D0-4235-8E28-AFC57E6088CA}" srcId="{C4FCE2AF-EB08-4184-9F73-C19CB5662F60}" destId="{6CB22F62-ED44-466E-93E2-A9B29FCFD1F6}" srcOrd="0" destOrd="0" parTransId="{B1F02C5C-B614-4B05-8B46-76948E850B4E}" sibTransId="{F2722EAA-B63E-45CF-B3F5-A6F8EA23D438}"/>
    <dgm:cxn modelId="{5C3F3DF7-F6C3-45CD-9D7D-953236BEF20B}" type="presOf" srcId="{42C81433-56DA-4F04-B051-9C9BFEE1E5A9}" destId="{B15DDD20-5288-4211-B1A0-8FF495856445}" srcOrd="0" destOrd="0" presId="urn:microsoft.com/office/officeart/2005/8/layout/radial6"/>
    <dgm:cxn modelId="{18FC4ADF-0002-40BC-A4E0-19B44C88D7ED}" type="presOf" srcId="{51B1FFF7-6EEC-439F-A59A-2E7D2D4E40C0}" destId="{4015FD51-4A45-4F38-BFFA-727658F2D977}" srcOrd="0" destOrd="0" presId="urn:microsoft.com/office/officeart/2005/8/layout/radial6"/>
    <dgm:cxn modelId="{32296757-2DF6-42B5-A4CB-FE4AA225CDDE}" srcId="{C4FCE2AF-EB08-4184-9F73-C19CB5662F60}" destId="{8395A6BA-EB30-436D-94FF-6BA030DF74A2}" srcOrd="1" destOrd="0" parTransId="{C343E694-24A6-4374-8DD8-6D92DDFB1407}" sibTransId="{3AC3915F-206F-4609-8BA7-F85D5B5F944E}"/>
    <dgm:cxn modelId="{9EDED5E8-85C2-4A5D-99BE-ABA88FEC6615}" srcId="{C4FCE2AF-EB08-4184-9F73-C19CB5662F60}" destId="{51B1FFF7-6EEC-439F-A59A-2E7D2D4E40C0}" srcOrd="3" destOrd="0" parTransId="{517A92E6-298C-4D8B-830D-6256E6164FA9}" sibTransId="{42C81433-56DA-4F04-B051-9C9BFEE1E5A9}"/>
    <dgm:cxn modelId="{469842A0-B914-416F-B92C-599ABA59E371}" type="presOf" srcId="{8395A6BA-EB30-436D-94FF-6BA030DF74A2}" destId="{971E4BB1-55A1-449F-8B6A-259411F7C58F}" srcOrd="0" destOrd="0" presId="urn:microsoft.com/office/officeart/2005/8/layout/radial6"/>
    <dgm:cxn modelId="{C6F7332C-9217-4BA5-9FEE-19E9ECCC87DC}" type="presOf" srcId="{DEA5A474-34BD-4425-9DF3-EB8A1CA441B4}" destId="{55B266A7-E76F-4BC0-9FD6-7BAE1FD1A312}" srcOrd="0" destOrd="0" presId="urn:microsoft.com/office/officeart/2005/8/layout/radial6"/>
    <dgm:cxn modelId="{FC1FCA0A-581C-436A-B693-E310DE34D6BF}" type="presOf" srcId="{6CB22F62-ED44-466E-93E2-A9B29FCFD1F6}" destId="{805039E1-EFA9-4993-BE8E-4216336CE11E}" srcOrd="0" destOrd="0" presId="urn:microsoft.com/office/officeart/2005/8/layout/radial6"/>
    <dgm:cxn modelId="{89FD1CDC-61D0-48C0-B55A-62F16BD0883F}" type="presOf" srcId="{3AC3915F-206F-4609-8BA7-F85D5B5F944E}" destId="{238F9940-B004-43B1-A4F5-2B02B68ADD71}" srcOrd="0" destOrd="0" presId="urn:microsoft.com/office/officeart/2005/8/layout/radial6"/>
    <dgm:cxn modelId="{92446276-0420-4C36-AC55-7BFE565E57AA}" type="presParOf" srcId="{9C33D9BE-1618-40FB-B53A-B254DE01E153}" destId="{E8D406D8-4CFE-4B1D-B3A4-CDA3F734529C}" srcOrd="0" destOrd="0" presId="urn:microsoft.com/office/officeart/2005/8/layout/radial6"/>
    <dgm:cxn modelId="{A904A0D3-64DC-498A-96EC-91461902A923}" type="presParOf" srcId="{9C33D9BE-1618-40FB-B53A-B254DE01E153}" destId="{805039E1-EFA9-4993-BE8E-4216336CE11E}" srcOrd="1" destOrd="0" presId="urn:microsoft.com/office/officeart/2005/8/layout/radial6"/>
    <dgm:cxn modelId="{20800717-AE1A-440E-B6FC-759FEF4FD461}" type="presParOf" srcId="{9C33D9BE-1618-40FB-B53A-B254DE01E153}" destId="{5082A330-4943-4938-B34F-3CBD99327AA8}" srcOrd="2" destOrd="0" presId="urn:microsoft.com/office/officeart/2005/8/layout/radial6"/>
    <dgm:cxn modelId="{D5696EEE-478C-4DE5-9CC8-B89FD33360A2}" type="presParOf" srcId="{9C33D9BE-1618-40FB-B53A-B254DE01E153}" destId="{2C6B8ED8-E1CC-48A7-B532-5173DD83C7F7}" srcOrd="3" destOrd="0" presId="urn:microsoft.com/office/officeart/2005/8/layout/radial6"/>
    <dgm:cxn modelId="{CC13E602-524D-4547-B105-05CD952B48A3}" type="presParOf" srcId="{9C33D9BE-1618-40FB-B53A-B254DE01E153}" destId="{971E4BB1-55A1-449F-8B6A-259411F7C58F}" srcOrd="4" destOrd="0" presId="urn:microsoft.com/office/officeart/2005/8/layout/radial6"/>
    <dgm:cxn modelId="{A762D87D-CE7A-49E0-8156-718BB0300FAF}" type="presParOf" srcId="{9C33D9BE-1618-40FB-B53A-B254DE01E153}" destId="{95A93048-1AA9-4ABD-976C-5C3674402FEB}" srcOrd="5" destOrd="0" presId="urn:microsoft.com/office/officeart/2005/8/layout/radial6"/>
    <dgm:cxn modelId="{04AA21EF-D6E5-4ECF-819F-B068564E4D4C}" type="presParOf" srcId="{9C33D9BE-1618-40FB-B53A-B254DE01E153}" destId="{238F9940-B004-43B1-A4F5-2B02B68ADD71}" srcOrd="6" destOrd="0" presId="urn:microsoft.com/office/officeart/2005/8/layout/radial6"/>
    <dgm:cxn modelId="{4212133F-7514-4AA2-ABA0-D091DF6D3851}" type="presParOf" srcId="{9C33D9BE-1618-40FB-B53A-B254DE01E153}" destId="{A7179A44-54A4-4491-9D28-AACCF71B9F2C}" srcOrd="7" destOrd="0" presId="urn:microsoft.com/office/officeart/2005/8/layout/radial6"/>
    <dgm:cxn modelId="{D08E0938-F704-464C-975E-2E1098B7ABF4}" type="presParOf" srcId="{9C33D9BE-1618-40FB-B53A-B254DE01E153}" destId="{0E4D16F8-1D57-4BCE-A437-FB3AA795952F}" srcOrd="8" destOrd="0" presId="urn:microsoft.com/office/officeart/2005/8/layout/radial6"/>
    <dgm:cxn modelId="{E12C8883-29C1-4A10-B856-3C69A812096F}" type="presParOf" srcId="{9C33D9BE-1618-40FB-B53A-B254DE01E153}" destId="{55B266A7-E76F-4BC0-9FD6-7BAE1FD1A312}" srcOrd="9" destOrd="0" presId="urn:microsoft.com/office/officeart/2005/8/layout/radial6"/>
    <dgm:cxn modelId="{43AB5BCD-F0E3-4E76-B69D-95BA2F8EC925}" type="presParOf" srcId="{9C33D9BE-1618-40FB-B53A-B254DE01E153}" destId="{4015FD51-4A45-4F38-BFFA-727658F2D977}" srcOrd="10" destOrd="0" presId="urn:microsoft.com/office/officeart/2005/8/layout/radial6"/>
    <dgm:cxn modelId="{80333DD6-0979-4759-83C1-DB7844CB4950}" type="presParOf" srcId="{9C33D9BE-1618-40FB-B53A-B254DE01E153}" destId="{5D85EC6C-ABF0-4DB0-B0AE-0CD148BD07E9}" srcOrd="11" destOrd="0" presId="urn:microsoft.com/office/officeart/2005/8/layout/radial6"/>
    <dgm:cxn modelId="{0AB82E13-011B-49C0-B150-C290F00DA44A}" type="presParOf" srcId="{9C33D9BE-1618-40FB-B53A-B254DE01E153}" destId="{B15DDD20-5288-4211-B1A0-8FF495856445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AE4A1B9-DBE0-476B-AAF7-4DA330490092}" type="doc">
      <dgm:prSet loTypeId="urn:microsoft.com/office/officeart/2005/8/layout/radial6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C4FCE2AF-EB08-4184-9F73-C19CB5662F60}">
      <dgm:prSet phldrT="[Tekst]"/>
      <dgm:spPr>
        <a:solidFill>
          <a:srgbClr val="F53BC0"/>
        </a:solidFill>
      </dgm:spPr>
      <dgm:t>
        <a:bodyPr/>
        <a:lstStyle/>
        <a:p>
          <a:r>
            <a:rPr lang="da-DK" dirty="0" smtClean="0"/>
            <a:t>Økonomisk</a:t>
          </a:r>
          <a:r>
            <a:rPr lang="da-DK" baseline="0" dirty="0" smtClean="0"/>
            <a:t> Bæredygtighed</a:t>
          </a:r>
          <a:endParaRPr lang="da-DK" dirty="0"/>
        </a:p>
      </dgm:t>
    </dgm:pt>
    <dgm:pt modelId="{712C08E1-54C0-4C88-8D21-C73FBEC75D7C}" type="parTrans" cxnId="{96241477-706C-42C1-80B8-2DA06C171BAC}">
      <dgm:prSet/>
      <dgm:spPr/>
      <dgm:t>
        <a:bodyPr/>
        <a:lstStyle/>
        <a:p>
          <a:endParaRPr lang="da-DK"/>
        </a:p>
      </dgm:t>
    </dgm:pt>
    <dgm:pt modelId="{5B5E71E8-B648-446C-872A-E05F7E16BAC3}" type="sibTrans" cxnId="{96241477-706C-42C1-80B8-2DA06C171BAC}">
      <dgm:prSet/>
      <dgm:spPr/>
      <dgm:t>
        <a:bodyPr/>
        <a:lstStyle/>
        <a:p>
          <a:endParaRPr lang="da-DK"/>
        </a:p>
      </dgm:t>
    </dgm:pt>
    <dgm:pt modelId="{6CB22F62-ED44-466E-93E2-A9B29FCFD1F6}">
      <dgm:prSet phldrT="[Tekst]"/>
      <dgm:spPr/>
      <dgm:t>
        <a:bodyPr/>
        <a:lstStyle/>
        <a:p>
          <a:r>
            <a:rPr lang="da-DK" dirty="0" smtClean="0"/>
            <a:t>Samfundet</a:t>
          </a:r>
          <a:endParaRPr lang="da-DK" dirty="0"/>
        </a:p>
      </dgm:t>
    </dgm:pt>
    <dgm:pt modelId="{B1F02C5C-B614-4B05-8B46-76948E850B4E}" type="parTrans" cxnId="{78C4A50E-97D0-4235-8E28-AFC57E6088CA}">
      <dgm:prSet/>
      <dgm:spPr/>
      <dgm:t>
        <a:bodyPr/>
        <a:lstStyle/>
        <a:p>
          <a:endParaRPr lang="da-DK"/>
        </a:p>
      </dgm:t>
    </dgm:pt>
    <dgm:pt modelId="{F2722EAA-B63E-45CF-B3F5-A6F8EA23D438}" type="sibTrans" cxnId="{78C4A50E-97D0-4235-8E28-AFC57E6088CA}">
      <dgm:prSet/>
      <dgm:spPr/>
      <dgm:t>
        <a:bodyPr/>
        <a:lstStyle/>
        <a:p>
          <a:endParaRPr lang="da-DK"/>
        </a:p>
      </dgm:t>
    </dgm:pt>
    <dgm:pt modelId="{8395A6BA-EB30-436D-94FF-6BA030DF74A2}">
      <dgm:prSet phldrT="[Tekst]"/>
      <dgm:spPr/>
      <dgm:t>
        <a:bodyPr/>
        <a:lstStyle/>
        <a:p>
          <a:r>
            <a:rPr lang="da-DK" dirty="0" smtClean="0"/>
            <a:t>Borgeren</a:t>
          </a:r>
          <a:endParaRPr lang="da-DK" dirty="0"/>
        </a:p>
      </dgm:t>
    </dgm:pt>
    <dgm:pt modelId="{C343E694-24A6-4374-8DD8-6D92DDFB1407}" type="parTrans" cxnId="{32296757-2DF6-42B5-A4CB-FE4AA225CDDE}">
      <dgm:prSet/>
      <dgm:spPr/>
      <dgm:t>
        <a:bodyPr/>
        <a:lstStyle/>
        <a:p>
          <a:endParaRPr lang="da-DK"/>
        </a:p>
      </dgm:t>
    </dgm:pt>
    <dgm:pt modelId="{3AC3915F-206F-4609-8BA7-F85D5B5F944E}" type="sibTrans" cxnId="{32296757-2DF6-42B5-A4CB-FE4AA225CDDE}">
      <dgm:prSet/>
      <dgm:spPr/>
      <dgm:t>
        <a:bodyPr/>
        <a:lstStyle/>
        <a:p>
          <a:endParaRPr lang="da-DK"/>
        </a:p>
      </dgm:t>
    </dgm:pt>
    <dgm:pt modelId="{142D23DE-EED6-4483-BE02-B275387A593A}">
      <dgm:prSet phldrT="[Tekst]"/>
      <dgm:spPr/>
      <dgm:t>
        <a:bodyPr/>
        <a:lstStyle/>
        <a:p>
          <a:r>
            <a:rPr lang="da-DK" dirty="0" smtClean="0"/>
            <a:t>Skolerne</a:t>
          </a:r>
          <a:endParaRPr lang="da-DK" dirty="0"/>
        </a:p>
      </dgm:t>
    </dgm:pt>
    <dgm:pt modelId="{D90AD1A4-E1D3-42A3-A5D5-16B8C2F177D9}" type="parTrans" cxnId="{A9CFC0DD-9A22-4260-B72D-9861F57043BF}">
      <dgm:prSet/>
      <dgm:spPr/>
      <dgm:t>
        <a:bodyPr/>
        <a:lstStyle/>
        <a:p>
          <a:endParaRPr lang="da-DK"/>
        </a:p>
      </dgm:t>
    </dgm:pt>
    <dgm:pt modelId="{DEA5A474-34BD-4425-9DF3-EB8A1CA441B4}" type="sibTrans" cxnId="{A9CFC0DD-9A22-4260-B72D-9861F57043BF}">
      <dgm:prSet/>
      <dgm:spPr/>
      <dgm:t>
        <a:bodyPr/>
        <a:lstStyle/>
        <a:p>
          <a:endParaRPr lang="da-DK"/>
        </a:p>
      </dgm:t>
    </dgm:pt>
    <dgm:pt modelId="{51B1FFF7-6EEC-439F-A59A-2E7D2D4E40C0}">
      <dgm:prSet phldrT="[Tekst]" custT="1"/>
      <dgm:spPr/>
      <dgm:t>
        <a:bodyPr/>
        <a:lstStyle/>
        <a:p>
          <a:r>
            <a:rPr lang="da-DK" sz="1900" dirty="0" err="1" smtClean="0"/>
            <a:t>Virksom-hederne</a:t>
          </a:r>
          <a:endParaRPr lang="da-DK" sz="1900" dirty="0"/>
        </a:p>
      </dgm:t>
    </dgm:pt>
    <dgm:pt modelId="{517A92E6-298C-4D8B-830D-6256E6164FA9}" type="parTrans" cxnId="{9EDED5E8-85C2-4A5D-99BE-ABA88FEC6615}">
      <dgm:prSet/>
      <dgm:spPr/>
      <dgm:t>
        <a:bodyPr/>
        <a:lstStyle/>
        <a:p>
          <a:endParaRPr lang="da-DK"/>
        </a:p>
      </dgm:t>
    </dgm:pt>
    <dgm:pt modelId="{42C81433-56DA-4F04-B051-9C9BFEE1E5A9}" type="sibTrans" cxnId="{9EDED5E8-85C2-4A5D-99BE-ABA88FEC6615}">
      <dgm:prSet/>
      <dgm:spPr/>
      <dgm:t>
        <a:bodyPr/>
        <a:lstStyle/>
        <a:p>
          <a:endParaRPr lang="da-DK"/>
        </a:p>
      </dgm:t>
    </dgm:pt>
    <dgm:pt modelId="{9C33D9BE-1618-40FB-B53A-B254DE01E153}" type="pres">
      <dgm:prSet presAssocID="{8AE4A1B9-DBE0-476B-AAF7-4DA330490092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da-DK"/>
        </a:p>
      </dgm:t>
    </dgm:pt>
    <dgm:pt modelId="{E8D406D8-4CFE-4B1D-B3A4-CDA3F734529C}" type="pres">
      <dgm:prSet presAssocID="{C4FCE2AF-EB08-4184-9F73-C19CB5662F60}" presName="centerShape" presStyleLbl="node0" presStyleIdx="0" presStyleCnt="1"/>
      <dgm:spPr/>
      <dgm:t>
        <a:bodyPr/>
        <a:lstStyle/>
        <a:p>
          <a:endParaRPr lang="da-DK"/>
        </a:p>
      </dgm:t>
    </dgm:pt>
    <dgm:pt modelId="{805039E1-EFA9-4993-BE8E-4216336CE11E}" type="pres">
      <dgm:prSet presAssocID="{6CB22F62-ED44-466E-93E2-A9B29FCFD1F6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5082A330-4943-4938-B34F-3CBD99327AA8}" type="pres">
      <dgm:prSet presAssocID="{6CB22F62-ED44-466E-93E2-A9B29FCFD1F6}" presName="dummy" presStyleCnt="0"/>
      <dgm:spPr/>
    </dgm:pt>
    <dgm:pt modelId="{2C6B8ED8-E1CC-48A7-B532-5173DD83C7F7}" type="pres">
      <dgm:prSet presAssocID="{F2722EAA-B63E-45CF-B3F5-A6F8EA23D438}" presName="sibTrans" presStyleLbl="sibTrans2D1" presStyleIdx="0" presStyleCnt="4"/>
      <dgm:spPr/>
      <dgm:t>
        <a:bodyPr/>
        <a:lstStyle/>
        <a:p>
          <a:endParaRPr lang="da-DK"/>
        </a:p>
      </dgm:t>
    </dgm:pt>
    <dgm:pt modelId="{971E4BB1-55A1-449F-8B6A-259411F7C58F}" type="pres">
      <dgm:prSet presAssocID="{8395A6BA-EB30-436D-94FF-6BA030DF74A2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95A93048-1AA9-4ABD-976C-5C3674402FEB}" type="pres">
      <dgm:prSet presAssocID="{8395A6BA-EB30-436D-94FF-6BA030DF74A2}" presName="dummy" presStyleCnt="0"/>
      <dgm:spPr/>
    </dgm:pt>
    <dgm:pt modelId="{238F9940-B004-43B1-A4F5-2B02B68ADD71}" type="pres">
      <dgm:prSet presAssocID="{3AC3915F-206F-4609-8BA7-F85D5B5F944E}" presName="sibTrans" presStyleLbl="sibTrans2D1" presStyleIdx="1" presStyleCnt="4"/>
      <dgm:spPr/>
      <dgm:t>
        <a:bodyPr/>
        <a:lstStyle/>
        <a:p>
          <a:endParaRPr lang="da-DK"/>
        </a:p>
      </dgm:t>
    </dgm:pt>
    <dgm:pt modelId="{A7179A44-54A4-4491-9D28-AACCF71B9F2C}" type="pres">
      <dgm:prSet presAssocID="{142D23DE-EED6-4483-BE02-B275387A593A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0E4D16F8-1D57-4BCE-A437-FB3AA795952F}" type="pres">
      <dgm:prSet presAssocID="{142D23DE-EED6-4483-BE02-B275387A593A}" presName="dummy" presStyleCnt="0"/>
      <dgm:spPr/>
    </dgm:pt>
    <dgm:pt modelId="{55B266A7-E76F-4BC0-9FD6-7BAE1FD1A312}" type="pres">
      <dgm:prSet presAssocID="{DEA5A474-34BD-4425-9DF3-EB8A1CA441B4}" presName="sibTrans" presStyleLbl="sibTrans2D1" presStyleIdx="2" presStyleCnt="4"/>
      <dgm:spPr/>
      <dgm:t>
        <a:bodyPr/>
        <a:lstStyle/>
        <a:p>
          <a:endParaRPr lang="da-DK"/>
        </a:p>
      </dgm:t>
    </dgm:pt>
    <dgm:pt modelId="{4015FD51-4A45-4F38-BFFA-727658F2D977}" type="pres">
      <dgm:prSet presAssocID="{51B1FFF7-6EEC-439F-A59A-2E7D2D4E40C0}" presName="node" presStyleLbl="node1" presStyleIdx="3" presStyleCnt="4" custScaleX="113799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5D85EC6C-ABF0-4DB0-B0AE-0CD148BD07E9}" type="pres">
      <dgm:prSet presAssocID="{51B1FFF7-6EEC-439F-A59A-2E7D2D4E40C0}" presName="dummy" presStyleCnt="0"/>
      <dgm:spPr/>
    </dgm:pt>
    <dgm:pt modelId="{B15DDD20-5288-4211-B1A0-8FF495856445}" type="pres">
      <dgm:prSet presAssocID="{42C81433-56DA-4F04-B051-9C9BFEE1E5A9}" presName="sibTrans" presStyleLbl="sibTrans2D1" presStyleIdx="3" presStyleCnt="4"/>
      <dgm:spPr/>
      <dgm:t>
        <a:bodyPr/>
        <a:lstStyle/>
        <a:p>
          <a:endParaRPr lang="da-DK"/>
        </a:p>
      </dgm:t>
    </dgm:pt>
  </dgm:ptLst>
  <dgm:cxnLst>
    <dgm:cxn modelId="{A9CFC0DD-9A22-4260-B72D-9861F57043BF}" srcId="{C4FCE2AF-EB08-4184-9F73-C19CB5662F60}" destId="{142D23DE-EED6-4483-BE02-B275387A593A}" srcOrd="2" destOrd="0" parTransId="{D90AD1A4-E1D3-42A3-A5D5-16B8C2F177D9}" sibTransId="{DEA5A474-34BD-4425-9DF3-EB8A1CA441B4}"/>
    <dgm:cxn modelId="{6AB1F9D7-E5C1-4B1D-B012-56EBE0698ADB}" type="presOf" srcId="{8AE4A1B9-DBE0-476B-AAF7-4DA330490092}" destId="{9C33D9BE-1618-40FB-B53A-B254DE01E153}" srcOrd="0" destOrd="0" presId="urn:microsoft.com/office/officeart/2005/8/layout/radial6"/>
    <dgm:cxn modelId="{96241477-706C-42C1-80B8-2DA06C171BAC}" srcId="{8AE4A1B9-DBE0-476B-AAF7-4DA330490092}" destId="{C4FCE2AF-EB08-4184-9F73-C19CB5662F60}" srcOrd="0" destOrd="0" parTransId="{712C08E1-54C0-4C88-8D21-C73FBEC75D7C}" sibTransId="{5B5E71E8-B648-446C-872A-E05F7E16BAC3}"/>
    <dgm:cxn modelId="{EB2A5838-8549-4171-AC45-102698429FEB}" type="presOf" srcId="{F2722EAA-B63E-45CF-B3F5-A6F8EA23D438}" destId="{2C6B8ED8-E1CC-48A7-B532-5173DD83C7F7}" srcOrd="0" destOrd="0" presId="urn:microsoft.com/office/officeart/2005/8/layout/radial6"/>
    <dgm:cxn modelId="{85E4C632-89A1-4852-863C-1D58BA5EEEF9}" type="presOf" srcId="{C4FCE2AF-EB08-4184-9F73-C19CB5662F60}" destId="{E8D406D8-4CFE-4B1D-B3A4-CDA3F734529C}" srcOrd="0" destOrd="0" presId="urn:microsoft.com/office/officeart/2005/8/layout/radial6"/>
    <dgm:cxn modelId="{B428FF05-CC4E-4E77-A1F9-D2224074B59E}" type="presOf" srcId="{142D23DE-EED6-4483-BE02-B275387A593A}" destId="{A7179A44-54A4-4491-9D28-AACCF71B9F2C}" srcOrd="0" destOrd="0" presId="urn:microsoft.com/office/officeart/2005/8/layout/radial6"/>
    <dgm:cxn modelId="{78C4A50E-97D0-4235-8E28-AFC57E6088CA}" srcId="{C4FCE2AF-EB08-4184-9F73-C19CB5662F60}" destId="{6CB22F62-ED44-466E-93E2-A9B29FCFD1F6}" srcOrd="0" destOrd="0" parTransId="{B1F02C5C-B614-4B05-8B46-76948E850B4E}" sibTransId="{F2722EAA-B63E-45CF-B3F5-A6F8EA23D438}"/>
    <dgm:cxn modelId="{5C3F3DF7-F6C3-45CD-9D7D-953236BEF20B}" type="presOf" srcId="{42C81433-56DA-4F04-B051-9C9BFEE1E5A9}" destId="{B15DDD20-5288-4211-B1A0-8FF495856445}" srcOrd="0" destOrd="0" presId="urn:microsoft.com/office/officeart/2005/8/layout/radial6"/>
    <dgm:cxn modelId="{18FC4ADF-0002-40BC-A4E0-19B44C88D7ED}" type="presOf" srcId="{51B1FFF7-6EEC-439F-A59A-2E7D2D4E40C0}" destId="{4015FD51-4A45-4F38-BFFA-727658F2D977}" srcOrd="0" destOrd="0" presId="urn:microsoft.com/office/officeart/2005/8/layout/radial6"/>
    <dgm:cxn modelId="{32296757-2DF6-42B5-A4CB-FE4AA225CDDE}" srcId="{C4FCE2AF-EB08-4184-9F73-C19CB5662F60}" destId="{8395A6BA-EB30-436D-94FF-6BA030DF74A2}" srcOrd="1" destOrd="0" parTransId="{C343E694-24A6-4374-8DD8-6D92DDFB1407}" sibTransId="{3AC3915F-206F-4609-8BA7-F85D5B5F944E}"/>
    <dgm:cxn modelId="{9EDED5E8-85C2-4A5D-99BE-ABA88FEC6615}" srcId="{C4FCE2AF-EB08-4184-9F73-C19CB5662F60}" destId="{51B1FFF7-6EEC-439F-A59A-2E7D2D4E40C0}" srcOrd="3" destOrd="0" parTransId="{517A92E6-298C-4D8B-830D-6256E6164FA9}" sibTransId="{42C81433-56DA-4F04-B051-9C9BFEE1E5A9}"/>
    <dgm:cxn modelId="{469842A0-B914-416F-B92C-599ABA59E371}" type="presOf" srcId="{8395A6BA-EB30-436D-94FF-6BA030DF74A2}" destId="{971E4BB1-55A1-449F-8B6A-259411F7C58F}" srcOrd="0" destOrd="0" presId="urn:microsoft.com/office/officeart/2005/8/layout/radial6"/>
    <dgm:cxn modelId="{C6F7332C-9217-4BA5-9FEE-19E9ECCC87DC}" type="presOf" srcId="{DEA5A474-34BD-4425-9DF3-EB8A1CA441B4}" destId="{55B266A7-E76F-4BC0-9FD6-7BAE1FD1A312}" srcOrd="0" destOrd="0" presId="urn:microsoft.com/office/officeart/2005/8/layout/radial6"/>
    <dgm:cxn modelId="{FC1FCA0A-581C-436A-B693-E310DE34D6BF}" type="presOf" srcId="{6CB22F62-ED44-466E-93E2-A9B29FCFD1F6}" destId="{805039E1-EFA9-4993-BE8E-4216336CE11E}" srcOrd="0" destOrd="0" presId="urn:microsoft.com/office/officeart/2005/8/layout/radial6"/>
    <dgm:cxn modelId="{89FD1CDC-61D0-48C0-B55A-62F16BD0883F}" type="presOf" srcId="{3AC3915F-206F-4609-8BA7-F85D5B5F944E}" destId="{238F9940-B004-43B1-A4F5-2B02B68ADD71}" srcOrd="0" destOrd="0" presId="urn:microsoft.com/office/officeart/2005/8/layout/radial6"/>
    <dgm:cxn modelId="{92446276-0420-4C36-AC55-7BFE565E57AA}" type="presParOf" srcId="{9C33D9BE-1618-40FB-B53A-B254DE01E153}" destId="{E8D406D8-4CFE-4B1D-B3A4-CDA3F734529C}" srcOrd="0" destOrd="0" presId="urn:microsoft.com/office/officeart/2005/8/layout/radial6"/>
    <dgm:cxn modelId="{A904A0D3-64DC-498A-96EC-91461902A923}" type="presParOf" srcId="{9C33D9BE-1618-40FB-B53A-B254DE01E153}" destId="{805039E1-EFA9-4993-BE8E-4216336CE11E}" srcOrd="1" destOrd="0" presId="urn:microsoft.com/office/officeart/2005/8/layout/radial6"/>
    <dgm:cxn modelId="{20800717-AE1A-440E-B6FC-759FEF4FD461}" type="presParOf" srcId="{9C33D9BE-1618-40FB-B53A-B254DE01E153}" destId="{5082A330-4943-4938-B34F-3CBD99327AA8}" srcOrd="2" destOrd="0" presId="urn:microsoft.com/office/officeart/2005/8/layout/radial6"/>
    <dgm:cxn modelId="{D5696EEE-478C-4DE5-9CC8-B89FD33360A2}" type="presParOf" srcId="{9C33D9BE-1618-40FB-B53A-B254DE01E153}" destId="{2C6B8ED8-E1CC-48A7-B532-5173DD83C7F7}" srcOrd="3" destOrd="0" presId="urn:microsoft.com/office/officeart/2005/8/layout/radial6"/>
    <dgm:cxn modelId="{CC13E602-524D-4547-B105-05CD952B48A3}" type="presParOf" srcId="{9C33D9BE-1618-40FB-B53A-B254DE01E153}" destId="{971E4BB1-55A1-449F-8B6A-259411F7C58F}" srcOrd="4" destOrd="0" presId="urn:microsoft.com/office/officeart/2005/8/layout/radial6"/>
    <dgm:cxn modelId="{A762D87D-CE7A-49E0-8156-718BB0300FAF}" type="presParOf" srcId="{9C33D9BE-1618-40FB-B53A-B254DE01E153}" destId="{95A93048-1AA9-4ABD-976C-5C3674402FEB}" srcOrd="5" destOrd="0" presId="urn:microsoft.com/office/officeart/2005/8/layout/radial6"/>
    <dgm:cxn modelId="{04AA21EF-D6E5-4ECF-819F-B068564E4D4C}" type="presParOf" srcId="{9C33D9BE-1618-40FB-B53A-B254DE01E153}" destId="{238F9940-B004-43B1-A4F5-2B02B68ADD71}" srcOrd="6" destOrd="0" presId="urn:microsoft.com/office/officeart/2005/8/layout/radial6"/>
    <dgm:cxn modelId="{4212133F-7514-4AA2-ABA0-D091DF6D3851}" type="presParOf" srcId="{9C33D9BE-1618-40FB-B53A-B254DE01E153}" destId="{A7179A44-54A4-4491-9D28-AACCF71B9F2C}" srcOrd="7" destOrd="0" presId="urn:microsoft.com/office/officeart/2005/8/layout/radial6"/>
    <dgm:cxn modelId="{D08E0938-F704-464C-975E-2E1098B7ABF4}" type="presParOf" srcId="{9C33D9BE-1618-40FB-B53A-B254DE01E153}" destId="{0E4D16F8-1D57-4BCE-A437-FB3AA795952F}" srcOrd="8" destOrd="0" presId="urn:microsoft.com/office/officeart/2005/8/layout/radial6"/>
    <dgm:cxn modelId="{E12C8883-29C1-4A10-B856-3C69A812096F}" type="presParOf" srcId="{9C33D9BE-1618-40FB-B53A-B254DE01E153}" destId="{55B266A7-E76F-4BC0-9FD6-7BAE1FD1A312}" srcOrd="9" destOrd="0" presId="urn:microsoft.com/office/officeart/2005/8/layout/radial6"/>
    <dgm:cxn modelId="{43AB5BCD-F0E3-4E76-B69D-95BA2F8EC925}" type="presParOf" srcId="{9C33D9BE-1618-40FB-B53A-B254DE01E153}" destId="{4015FD51-4A45-4F38-BFFA-727658F2D977}" srcOrd="10" destOrd="0" presId="urn:microsoft.com/office/officeart/2005/8/layout/radial6"/>
    <dgm:cxn modelId="{80333DD6-0979-4759-83C1-DB7844CB4950}" type="presParOf" srcId="{9C33D9BE-1618-40FB-B53A-B254DE01E153}" destId="{5D85EC6C-ABF0-4DB0-B0AE-0CD148BD07E9}" srcOrd="11" destOrd="0" presId="urn:microsoft.com/office/officeart/2005/8/layout/radial6"/>
    <dgm:cxn modelId="{0AB82E13-011B-49C0-B150-C290F00DA44A}" type="presParOf" srcId="{9C33D9BE-1618-40FB-B53A-B254DE01E153}" destId="{B15DDD20-5288-4211-B1A0-8FF495856445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5DDD20-5288-4211-B1A0-8FF495856445}">
      <dsp:nvSpPr>
        <dsp:cNvPr id="0" name=""/>
        <dsp:cNvSpPr/>
      </dsp:nvSpPr>
      <dsp:spPr>
        <a:xfrm>
          <a:off x="2353714" y="769767"/>
          <a:ext cx="5143897" cy="5143897"/>
        </a:xfrm>
        <a:prstGeom prst="blockArc">
          <a:avLst>
            <a:gd name="adj1" fmla="val 10800000"/>
            <a:gd name="adj2" fmla="val 1620000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5B266A7-E76F-4BC0-9FD6-7BAE1FD1A312}">
      <dsp:nvSpPr>
        <dsp:cNvPr id="0" name=""/>
        <dsp:cNvSpPr/>
      </dsp:nvSpPr>
      <dsp:spPr>
        <a:xfrm>
          <a:off x="2353714" y="769767"/>
          <a:ext cx="5143897" cy="5143897"/>
        </a:xfrm>
        <a:prstGeom prst="blockArc">
          <a:avLst>
            <a:gd name="adj1" fmla="val 5400000"/>
            <a:gd name="adj2" fmla="val 1080000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8F9940-B004-43B1-A4F5-2B02B68ADD71}">
      <dsp:nvSpPr>
        <dsp:cNvPr id="0" name=""/>
        <dsp:cNvSpPr/>
      </dsp:nvSpPr>
      <dsp:spPr>
        <a:xfrm>
          <a:off x="2353714" y="769767"/>
          <a:ext cx="5143897" cy="5143897"/>
        </a:xfrm>
        <a:prstGeom prst="blockArc">
          <a:avLst>
            <a:gd name="adj1" fmla="val 0"/>
            <a:gd name="adj2" fmla="val 540000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6B8ED8-E1CC-48A7-B532-5173DD83C7F7}">
      <dsp:nvSpPr>
        <dsp:cNvPr id="0" name=""/>
        <dsp:cNvSpPr/>
      </dsp:nvSpPr>
      <dsp:spPr>
        <a:xfrm>
          <a:off x="2353714" y="769767"/>
          <a:ext cx="5143897" cy="5143897"/>
        </a:xfrm>
        <a:prstGeom prst="blockArc">
          <a:avLst>
            <a:gd name="adj1" fmla="val 16200000"/>
            <a:gd name="adj2" fmla="val 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8D406D8-4CFE-4B1D-B3A4-CDA3F734529C}">
      <dsp:nvSpPr>
        <dsp:cNvPr id="0" name=""/>
        <dsp:cNvSpPr/>
      </dsp:nvSpPr>
      <dsp:spPr>
        <a:xfrm>
          <a:off x="3741821" y="2157874"/>
          <a:ext cx="2367682" cy="2367682"/>
        </a:xfrm>
        <a:prstGeom prst="ellipse">
          <a:avLst/>
        </a:prstGeom>
        <a:solidFill>
          <a:srgbClr val="F53B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2000" kern="1200" dirty="0" smtClean="0"/>
            <a:t>Økonomisk</a:t>
          </a:r>
          <a:r>
            <a:rPr lang="da-DK" sz="2000" kern="1200" baseline="0" dirty="0" smtClean="0"/>
            <a:t> Bæredygtighed</a:t>
          </a:r>
          <a:endParaRPr lang="da-DK" sz="2000" kern="1200" dirty="0"/>
        </a:p>
      </dsp:txBody>
      <dsp:txXfrm>
        <a:off x="4088560" y="2504613"/>
        <a:ext cx="1674204" cy="1674204"/>
      </dsp:txXfrm>
    </dsp:sp>
    <dsp:sp modelId="{805039E1-EFA9-4993-BE8E-4216336CE11E}">
      <dsp:nvSpPr>
        <dsp:cNvPr id="0" name=""/>
        <dsp:cNvSpPr/>
      </dsp:nvSpPr>
      <dsp:spPr>
        <a:xfrm>
          <a:off x="4096974" y="744"/>
          <a:ext cx="1657377" cy="16573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900" kern="1200" dirty="0" smtClean="0"/>
            <a:t>Samfundet</a:t>
          </a:r>
          <a:endParaRPr lang="da-DK" sz="1900" kern="1200" dirty="0"/>
        </a:p>
      </dsp:txBody>
      <dsp:txXfrm>
        <a:off x="4339691" y="243461"/>
        <a:ext cx="1171943" cy="1171943"/>
      </dsp:txXfrm>
    </dsp:sp>
    <dsp:sp modelId="{971E4BB1-55A1-449F-8B6A-259411F7C58F}">
      <dsp:nvSpPr>
        <dsp:cNvPr id="0" name=""/>
        <dsp:cNvSpPr/>
      </dsp:nvSpPr>
      <dsp:spPr>
        <a:xfrm>
          <a:off x="6609257" y="2513027"/>
          <a:ext cx="1657377" cy="16573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900" kern="1200" dirty="0" smtClean="0"/>
            <a:t>Borgeren</a:t>
          </a:r>
          <a:endParaRPr lang="da-DK" sz="1900" kern="1200" dirty="0"/>
        </a:p>
      </dsp:txBody>
      <dsp:txXfrm>
        <a:off x="6851974" y="2755744"/>
        <a:ext cx="1171943" cy="1171943"/>
      </dsp:txXfrm>
    </dsp:sp>
    <dsp:sp modelId="{A7179A44-54A4-4491-9D28-AACCF71B9F2C}">
      <dsp:nvSpPr>
        <dsp:cNvPr id="0" name=""/>
        <dsp:cNvSpPr/>
      </dsp:nvSpPr>
      <dsp:spPr>
        <a:xfrm>
          <a:off x="4096974" y="5025310"/>
          <a:ext cx="1657377" cy="16573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900" kern="1200" dirty="0" smtClean="0"/>
            <a:t>Skolerne</a:t>
          </a:r>
          <a:endParaRPr lang="da-DK" sz="1900" kern="1200" dirty="0"/>
        </a:p>
      </dsp:txBody>
      <dsp:txXfrm>
        <a:off x="4339691" y="5268027"/>
        <a:ext cx="1171943" cy="1171943"/>
      </dsp:txXfrm>
    </dsp:sp>
    <dsp:sp modelId="{4015FD51-4A45-4F38-BFFA-727658F2D977}">
      <dsp:nvSpPr>
        <dsp:cNvPr id="0" name=""/>
        <dsp:cNvSpPr/>
      </dsp:nvSpPr>
      <dsp:spPr>
        <a:xfrm>
          <a:off x="1470340" y="2513027"/>
          <a:ext cx="1886079" cy="16573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900" kern="1200" dirty="0" err="1" smtClean="0"/>
            <a:t>Virksom-hederne</a:t>
          </a:r>
          <a:endParaRPr lang="da-DK" sz="1900" kern="1200" dirty="0"/>
        </a:p>
      </dsp:txBody>
      <dsp:txXfrm>
        <a:off x="1746550" y="2755744"/>
        <a:ext cx="1333659" cy="117194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5DDD20-5288-4211-B1A0-8FF495856445}">
      <dsp:nvSpPr>
        <dsp:cNvPr id="0" name=""/>
        <dsp:cNvSpPr/>
      </dsp:nvSpPr>
      <dsp:spPr>
        <a:xfrm>
          <a:off x="2296538" y="769767"/>
          <a:ext cx="5143897" cy="5143897"/>
        </a:xfrm>
        <a:prstGeom prst="blockArc">
          <a:avLst>
            <a:gd name="adj1" fmla="val 10800000"/>
            <a:gd name="adj2" fmla="val 1620000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5B266A7-E76F-4BC0-9FD6-7BAE1FD1A312}">
      <dsp:nvSpPr>
        <dsp:cNvPr id="0" name=""/>
        <dsp:cNvSpPr/>
      </dsp:nvSpPr>
      <dsp:spPr>
        <a:xfrm>
          <a:off x="2296538" y="769767"/>
          <a:ext cx="5143897" cy="5143897"/>
        </a:xfrm>
        <a:prstGeom prst="blockArc">
          <a:avLst>
            <a:gd name="adj1" fmla="val 5400000"/>
            <a:gd name="adj2" fmla="val 1080000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8F9940-B004-43B1-A4F5-2B02B68ADD71}">
      <dsp:nvSpPr>
        <dsp:cNvPr id="0" name=""/>
        <dsp:cNvSpPr/>
      </dsp:nvSpPr>
      <dsp:spPr>
        <a:xfrm>
          <a:off x="2296538" y="769767"/>
          <a:ext cx="5143897" cy="5143897"/>
        </a:xfrm>
        <a:prstGeom prst="blockArc">
          <a:avLst>
            <a:gd name="adj1" fmla="val 0"/>
            <a:gd name="adj2" fmla="val 540000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6B8ED8-E1CC-48A7-B532-5173DD83C7F7}">
      <dsp:nvSpPr>
        <dsp:cNvPr id="0" name=""/>
        <dsp:cNvSpPr/>
      </dsp:nvSpPr>
      <dsp:spPr>
        <a:xfrm>
          <a:off x="2296538" y="769767"/>
          <a:ext cx="5143897" cy="5143897"/>
        </a:xfrm>
        <a:prstGeom prst="blockArc">
          <a:avLst>
            <a:gd name="adj1" fmla="val 16200000"/>
            <a:gd name="adj2" fmla="val 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8D406D8-4CFE-4B1D-B3A4-CDA3F734529C}">
      <dsp:nvSpPr>
        <dsp:cNvPr id="0" name=""/>
        <dsp:cNvSpPr/>
      </dsp:nvSpPr>
      <dsp:spPr>
        <a:xfrm>
          <a:off x="3684646" y="2157874"/>
          <a:ext cx="2367682" cy="2367682"/>
        </a:xfrm>
        <a:prstGeom prst="ellipse">
          <a:avLst/>
        </a:prstGeom>
        <a:solidFill>
          <a:srgbClr val="F53B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3200" kern="1200" dirty="0" smtClean="0"/>
            <a:t>Økonomisk</a:t>
          </a:r>
          <a:r>
            <a:rPr lang="da-DK" sz="3200" kern="1200" baseline="0" dirty="0" smtClean="0"/>
            <a:t> Bæredygtighed</a:t>
          </a:r>
          <a:endParaRPr lang="da-DK" sz="3200" kern="1200" dirty="0"/>
        </a:p>
      </dsp:txBody>
      <dsp:txXfrm>
        <a:off x="4031385" y="2504613"/>
        <a:ext cx="1674204" cy="1674204"/>
      </dsp:txXfrm>
    </dsp:sp>
    <dsp:sp modelId="{805039E1-EFA9-4993-BE8E-4216336CE11E}">
      <dsp:nvSpPr>
        <dsp:cNvPr id="0" name=""/>
        <dsp:cNvSpPr/>
      </dsp:nvSpPr>
      <dsp:spPr>
        <a:xfrm>
          <a:off x="4039798" y="744"/>
          <a:ext cx="1657377" cy="1657377"/>
        </a:xfrm>
        <a:prstGeom prst="ellipse">
          <a:avLst/>
        </a:prstGeom>
        <a:solidFill>
          <a:schemeClr val="accent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800" kern="1200" dirty="0" smtClean="0"/>
            <a:t>Samfundet</a:t>
          </a:r>
          <a:endParaRPr lang="da-DK" sz="1800" kern="1200" dirty="0"/>
        </a:p>
      </dsp:txBody>
      <dsp:txXfrm>
        <a:off x="4282515" y="243461"/>
        <a:ext cx="1171943" cy="1171943"/>
      </dsp:txXfrm>
    </dsp:sp>
    <dsp:sp modelId="{971E4BB1-55A1-449F-8B6A-259411F7C58F}">
      <dsp:nvSpPr>
        <dsp:cNvPr id="0" name=""/>
        <dsp:cNvSpPr/>
      </dsp:nvSpPr>
      <dsp:spPr>
        <a:xfrm>
          <a:off x="6552081" y="2513027"/>
          <a:ext cx="1657377" cy="16573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800" kern="1200" dirty="0" smtClean="0"/>
            <a:t>Individet</a:t>
          </a:r>
          <a:endParaRPr lang="da-DK" sz="1800" kern="1200" dirty="0"/>
        </a:p>
      </dsp:txBody>
      <dsp:txXfrm>
        <a:off x="6794798" y="2755744"/>
        <a:ext cx="1171943" cy="1171943"/>
      </dsp:txXfrm>
    </dsp:sp>
    <dsp:sp modelId="{A7179A44-54A4-4491-9D28-AACCF71B9F2C}">
      <dsp:nvSpPr>
        <dsp:cNvPr id="0" name=""/>
        <dsp:cNvSpPr/>
      </dsp:nvSpPr>
      <dsp:spPr>
        <a:xfrm>
          <a:off x="4039798" y="5025310"/>
          <a:ext cx="1657377" cy="16573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800" kern="1200" dirty="0" smtClean="0"/>
            <a:t>Skolerne</a:t>
          </a:r>
          <a:endParaRPr lang="da-DK" sz="1800" kern="1200" dirty="0"/>
        </a:p>
      </dsp:txBody>
      <dsp:txXfrm>
        <a:off x="4282515" y="5268027"/>
        <a:ext cx="1171943" cy="1171943"/>
      </dsp:txXfrm>
    </dsp:sp>
    <dsp:sp modelId="{4015FD51-4A45-4F38-BFFA-727658F2D977}">
      <dsp:nvSpPr>
        <dsp:cNvPr id="0" name=""/>
        <dsp:cNvSpPr/>
      </dsp:nvSpPr>
      <dsp:spPr>
        <a:xfrm>
          <a:off x="1527515" y="2513027"/>
          <a:ext cx="1657377" cy="16573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800" kern="1200" dirty="0" smtClean="0"/>
            <a:t>Virksomhederne</a:t>
          </a:r>
          <a:endParaRPr lang="da-DK" sz="1800" kern="1200" dirty="0"/>
        </a:p>
      </dsp:txBody>
      <dsp:txXfrm>
        <a:off x="1770232" y="2755744"/>
        <a:ext cx="1171943" cy="117194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5DDD20-5288-4211-B1A0-8FF495856445}">
      <dsp:nvSpPr>
        <dsp:cNvPr id="0" name=""/>
        <dsp:cNvSpPr/>
      </dsp:nvSpPr>
      <dsp:spPr>
        <a:xfrm>
          <a:off x="2360642" y="769767"/>
          <a:ext cx="5143897" cy="5143897"/>
        </a:xfrm>
        <a:prstGeom prst="blockArc">
          <a:avLst>
            <a:gd name="adj1" fmla="val 10800000"/>
            <a:gd name="adj2" fmla="val 1620000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5B266A7-E76F-4BC0-9FD6-7BAE1FD1A312}">
      <dsp:nvSpPr>
        <dsp:cNvPr id="0" name=""/>
        <dsp:cNvSpPr/>
      </dsp:nvSpPr>
      <dsp:spPr>
        <a:xfrm>
          <a:off x="2360642" y="769767"/>
          <a:ext cx="5143897" cy="5143897"/>
        </a:xfrm>
        <a:prstGeom prst="blockArc">
          <a:avLst>
            <a:gd name="adj1" fmla="val 5400000"/>
            <a:gd name="adj2" fmla="val 1080000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8F9940-B004-43B1-A4F5-2B02B68ADD71}">
      <dsp:nvSpPr>
        <dsp:cNvPr id="0" name=""/>
        <dsp:cNvSpPr/>
      </dsp:nvSpPr>
      <dsp:spPr>
        <a:xfrm>
          <a:off x="2360642" y="769767"/>
          <a:ext cx="5143897" cy="5143897"/>
        </a:xfrm>
        <a:prstGeom prst="blockArc">
          <a:avLst>
            <a:gd name="adj1" fmla="val 0"/>
            <a:gd name="adj2" fmla="val 540000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6B8ED8-E1CC-48A7-B532-5173DD83C7F7}">
      <dsp:nvSpPr>
        <dsp:cNvPr id="0" name=""/>
        <dsp:cNvSpPr/>
      </dsp:nvSpPr>
      <dsp:spPr>
        <a:xfrm>
          <a:off x="2360642" y="769767"/>
          <a:ext cx="5143897" cy="5143897"/>
        </a:xfrm>
        <a:prstGeom prst="blockArc">
          <a:avLst>
            <a:gd name="adj1" fmla="val 16200000"/>
            <a:gd name="adj2" fmla="val 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8D406D8-4CFE-4B1D-B3A4-CDA3F734529C}">
      <dsp:nvSpPr>
        <dsp:cNvPr id="0" name=""/>
        <dsp:cNvSpPr/>
      </dsp:nvSpPr>
      <dsp:spPr>
        <a:xfrm>
          <a:off x="3748749" y="2157874"/>
          <a:ext cx="2367682" cy="2367682"/>
        </a:xfrm>
        <a:prstGeom prst="ellipse">
          <a:avLst/>
        </a:prstGeom>
        <a:solidFill>
          <a:srgbClr val="F53B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2000" kern="1200" dirty="0" smtClean="0"/>
            <a:t>Økonomisk</a:t>
          </a:r>
          <a:r>
            <a:rPr lang="da-DK" sz="2000" kern="1200" baseline="0" dirty="0" smtClean="0"/>
            <a:t> Bæredygtighed</a:t>
          </a:r>
          <a:endParaRPr lang="da-DK" sz="2000" kern="1200" dirty="0"/>
        </a:p>
      </dsp:txBody>
      <dsp:txXfrm>
        <a:off x="4095488" y="2504613"/>
        <a:ext cx="1674204" cy="1674204"/>
      </dsp:txXfrm>
    </dsp:sp>
    <dsp:sp modelId="{805039E1-EFA9-4993-BE8E-4216336CE11E}">
      <dsp:nvSpPr>
        <dsp:cNvPr id="0" name=""/>
        <dsp:cNvSpPr/>
      </dsp:nvSpPr>
      <dsp:spPr>
        <a:xfrm>
          <a:off x="4103901" y="744"/>
          <a:ext cx="1657377" cy="16573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900" kern="1200" dirty="0" smtClean="0"/>
            <a:t>Samfundet</a:t>
          </a:r>
          <a:endParaRPr lang="da-DK" sz="1900" kern="1200" dirty="0"/>
        </a:p>
      </dsp:txBody>
      <dsp:txXfrm>
        <a:off x="4346618" y="243461"/>
        <a:ext cx="1171943" cy="1171943"/>
      </dsp:txXfrm>
    </dsp:sp>
    <dsp:sp modelId="{971E4BB1-55A1-449F-8B6A-259411F7C58F}">
      <dsp:nvSpPr>
        <dsp:cNvPr id="0" name=""/>
        <dsp:cNvSpPr/>
      </dsp:nvSpPr>
      <dsp:spPr>
        <a:xfrm>
          <a:off x="6616185" y="2513027"/>
          <a:ext cx="1657377" cy="16573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900" kern="1200" dirty="0" smtClean="0"/>
            <a:t>Individet</a:t>
          </a:r>
          <a:endParaRPr lang="da-DK" sz="1900" kern="1200" dirty="0"/>
        </a:p>
      </dsp:txBody>
      <dsp:txXfrm>
        <a:off x="6858902" y="2755744"/>
        <a:ext cx="1171943" cy="1171943"/>
      </dsp:txXfrm>
    </dsp:sp>
    <dsp:sp modelId="{A7179A44-54A4-4491-9D28-AACCF71B9F2C}">
      <dsp:nvSpPr>
        <dsp:cNvPr id="0" name=""/>
        <dsp:cNvSpPr/>
      </dsp:nvSpPr>
      <dsp:spPr>
        <a:xfrm>
          <a:off x="4103901" y="5025310"/>
          <a:ext cx="1657377" cy="16573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900" kern="1200" dirty="0" smtClean="0"/>
            <a:t>Skolerne</a:t>
          </a:r>
          <a:endParaRPr lang="da-DK" sz="1900" kern="1200" dirty="0"/>
        </a:p>
      </dsp:txBody>
      <dsp:txXfrm>
        <a:off x="4346618" y="5268027"/>
        <a:ext cx="1171943" cy="1171943"/>
      </dsp:txXfrm>
    </dsp:sp>
    <dsp:sp modelId="{4015FD51-4A45-4F38-BFFA-727658F2D977}">
      <dsp:nvSpPr>
        <dsp:cNvPr id="0" name=""/>
        <dsp:cNvSpPr/>
      </dsp:nvSpPr>
      <dsp:spPr>
        <a:xfrm>
          <a:off x="1463412" y="2324102"/>
          <a:ext cx="1913790" cy="2035226"/>
        </a:xfrm>
        <a:prstGeom prst="ellipse">
          <a:avLst/>
        </a:prstGeom>
        <a:solidFill>
          <a:schemeClr val="accent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400" kern="1200" dirty="0" smtClean="0"/>
            <a:t>Virksomhederne</a:t>
          </a:r>
          <a:endParaRPr lang="da-DK" sz="1400" kern="1200" dirty="0"/>
        </a:p>
      </dsp:txBody>
      <dsp:txXfrm>
        <a:off x="1743680" y="2622154"/>
        <a:ext cx="1353254" cy="143912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5DDD20-5288-4211-B1A0-8FF495856445}">
      <dsp:nvSpPr>
        <dsp:cNvPr id="0" name=""/>
        <dsp:cNvSpPr/>
      </dsp:nvSpPr>
      <dsp:spPr>
        <a:xfrm>
          <a:off x="2296538" y="769767"/>
          <a:ext cx="5143897" cy="5143897"/>
        </a:xfrm>
        <a:prstGeom prst="blockArc">
          <a:avLst>
            <a:gd name="adj1" fmla="val 10800000"/>
            <a:gd name="adj2" fmla="val 1620000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5B266A7-E76F-4BC0-9FD6-7BAE1FD1A312}">
      <dsp:nvSpPr>
        <dsp:cNvPr id="0" name=""/>
        <dsp:cNvSpPr/>
      </dsp:nvSpPr>
      <dsp:spPr>
        <a:xfrm>
          <a:off x="2296538" y="769767"/>
          <a:ext cx="5143897" cy="5143897"/>
        </a:xfrm>
        <a:prstGeom prst="blockArc">
          <a:avLst>
            <a:gd name="adj1" fmla="val 5400000"/>
            <a:gd name="adj2" fmla="val 1080000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8F9940-B004-43B1-A4F5-2B02B68ADD71}">
      <dsp:nvSpPr>
        <dsp:cNvPr id="0" name=""/>
        <dsp:cNvSpPr/>
      </dsp:nvSpPr>
      <dsp:spPr>
        <a:xfrm>
          <a:off x="2296538" y="769767"/>
          <a:ext cx="5143897" cy="5143897"/>
        </a:xfrm>
        <a:prstGeom prst="blockArc">
          <a:avLst>
            <a:gd name="adj1" fmla="val 0"/>
            <a:gd name="adj2" fmla="val 540000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6B8ED8-E1CC-48A7-B532-5173DD83C7F7}">
      <dsp:nvSpPr>
        <dsp:cNvPr id="0" name=""/>
        <dsp:cNvSpPr/>
      </dsp:nvSpPr>
      <dsp:spPr>
        <a:xfrm>
          <a:off x="2296538" y="769767"/>
          <a:ext cx="5143897" cy="5143897"/>
        </a:xfrm>
        <a:prstGeom prst="blockArc">
          <a:avLst>
            <a:gd name="adj1" fmla="val 16200000"/>
            <a:gd name="adj2" fmla="val 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8D406D8-4CFE-4B1D-B3A4-CDA3F734529C}">
      <dsp:nvSpPr>
        <dsp:cNvPr id="0" name=""/>
        <dsp:cNvSpPr/>
      </dsp:nvSpPr>
      <dsp:spPr>
        <a:xfrm>
          <a:off x="3684646" y="2157874"/>
          <a:ext cx="2367682" cy="2367682"/>
        </a:xfrm>
        <a:prstGeom prst="ellipse">
          <a:avLst/>
        </a:prstGeom>
        <a:solidFill>
          <a:srgbClr val="F53B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2000" kern="1200" dirty="0" smtClean="0"/>
            <a:t>Økonomisk</a:t>
          </a:r>
          <a:r>
            <a:rPr lang="da-DK" sz="2000" kern="1200" baseline="0" dirty="0" smtClean="0"/>
            <a:t> Bæredygtighed</a:t>
          </a:r>
          <a:endParaRPr lang="da-DK" sz="2000" kern="1200" dirty="0"/>
        </a:p>
      </dsp:txBody>
      <dsp:txXfrm>
        <a:off x="4031385" y="2504613"/>
        <a:ext cx="1674204" cy="1674204"/>
      </dsp:txXfrm>
    </dsp:sp>
    <dsp:sp modelId="{805039E1-EFA9-4993-BE8E-4216336CE11E}">
      <dsp:nvSpPr>
        <dsp:cNvPr id="0" name=""/>
        <dsp:cNvSpPr/>
      </dsp:nvSpPr>
      <dsp:spPr>
        <a:xfrm>
          <a:off x="4039798" y="744"/>
          <a:ext cx="1657377" cy="16573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300" kern="1200" dirty="0" smtClean="0"/>
            <a:t>Samfundet</a:t>
          </a:r>
          <a:endParaRPr lang="da-DK" sz="1300" kern="1200" dirty="0"/>
        </a:p>
      </dsp:txBody>
      <dsp:txXfrm>
        <a:off x="4282515" y="243461"/>
        <a:ext cx="1171943" cy="1171943"/>
      </dsp:txXfrm>
    </dsp:sp>
    <dsp:sp modelId="{971E4BB1-55A1-449F-8B6A-259411F7C58F}">
      <dsp:nvSpPr>
        <dsp:cNvPr id="0" name=""/>
        <dsp:cNvSpPr/>
      </dsp:nvSpPr>
      <dsp:spPr>
        <a:xfrm>
          <a:off x="6552081" y="2513027"/>
          <a:ext cx="1657377" cy="1657377"/>
        </a:xfrm>
        <a:prstGeom prst="ellipse">
          <a:avLst/>
        </a:prstGeom>
        <a:solidFill>
          <a:schemeClr val="accent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2000" kern="1200" dirty="0" smtClean="0"/>
            <a:t>Borgeren</a:t>
          </a:r>
          <a:endParaRPr lang="da-DK" sz="2000" kern="1200" dirty="0"/>
        </a:p>
      </dsp:txBody>
      <dsp:txXfrm>
        <a:off x="6794798" y="2755744"/>
        <a:ext cx="1171943" cy="1171943"/>
      </dsp:txXfrm>
    </dsp:sp>
    <dsp:sp modelId="{A7179A44-54A4-4491-9D28-AACCF71B9F2C}">
      <dsp:nvSpPr>
        <dsp:cNvPr id="0" name=""/>
        <dsp:cNvSpPr/>
      </dsp:nvSpPr>
      <dsp:spPr>
        <a:xfrm>
          <a:off x="4039798" y="5025310"/>
          <a:ext cx="1657377" cy="16573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300" kern="1200" dirty="0" smtClean="0"/>
            <a:t>Skolerne</a:t>
          </a:r>
          <a:endParaRPr lang="da-DK" sz="1300" kern="1200" dirty="0"/>
        </a:p>
      </dsp:txBody>
      <dsp:txXfrm>
        <a:off x="4282515" y="5268027"/>
        <a:ext cx="1171943" cy="1171943"/>
      </dsp:txXfrm>
    </dsp:sp>
    <dsp:sp modelId="{4015FD51-4A45-4F38-BFFA-727658F2D977}">
      <dsp:nvSpPr>
        <dsp:cNvPr id="0" name=""/>
        <dsp:cNvSpPr/>
      </dsp:nvSpPr>
      <dsp:spPr>
        <a:xfrm>
          <a:off x="1527515" y="2513027"/>
          <a:ext cx="1657377" cy="16573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300" kern="1200" dirty="0" smtClean="0"/>
            <a:t>Virksomhederne</a:t>
          </a:r>
          <a:endParaRPr lang="da-DK" sz="1300" kern="1200" dirty="0"/>
        </a:p>
      </dsp:txBody>
      <dsp:txXfrm>
        <a:off x="1770232" y="2755744"/>
        <a:ext cx="1171943" cy="117194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5DDD20-5288-4211-B1A0-8FF495856445}">
      <dsp:nvSpPr>
        <dsp:cNvPr id="0" name=""/>
        <dsp:cNvSpPr/>
      </dsp:nvSpPr>
      <dsp:spPr>
        <a:xfrm>
          <a:off x="2296538" y="769767"/>
          <a:ext cx="5143897" cy="5143897"/>
        </a:xfrm>
        <a:prstGeom prst="blockArc">
          <a:avLst>
            <a:gd name="adj1" fmla="val 10800000"/>
            <a:gd name="adj2" fmla="val 1620000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5B266A7-E76F-4BC0-9FD6-7BAE1FD1A312}">
      <dsp:nvSpPr>
        <dsp:cNvPr id="0" name=""/>
        <dsp:cNvSpPr/>
      </dsp:nvSpPr>
      <dsp:spPr>
        <a:xfrm>
          <a:off x="2296538" y="769767"/>
          <a:ext cx="5143897" cy="5143897"/>
        </a:xfrm>
        <a:prstGeom prst="blockArc">
          <a:avLst>
            <a:gd name="adj1" fmla="val 5400000"/>
            <a:gd name="adj2" fmla="val 1080000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8F9940-B004-43B1-A4F5-2B02B68ADD71}">
      <dsp:nvSpPr>
        <dsp:cNvPr id="0" name=""/>
        <dsp:cNvSpPr/>
      </dsp:nvSpPr>
      <dsp:spPr>
        <a:xfrm>
          <a:off x="2296538" y="769767"/>
          <a:ext cx="5143897" cy="5143897"/>
        </a:xfrm>
        <a:prstGeom prst="blockArc">
          <a:avLst>
            <a:gd name="adj1" fmla="val 0"/>
            <a:gd name="adj2" fmla="val 540000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6B8ED8-E1CC-48A7-B532-5173DD83C7F7}">
      <dsp:nvSpPr>
        <dsp:cNvPr id="0" name=""/>
        <dsp:cNvSpPr/>
      </dsp:nvSpPr>
      <dsp:spPr>
        <a:xfrm>
          <a:off x="2296538" y="769767"/>
          <a:ext cx="5143897" cy="5143897"/>
        </a:xfrm>
        <a:prstGeom prst="blockArc">
          <a:avLst>
            <a:gd name="adj1" fmla="val 16200000"/>
            <a:gd name="adj2" fmla="val 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8D406D8-4CFE-4B1D-B3A4-CDA3F734529C}">
      <dsp:nvSpPr>
        <dsp:cNvPr id="0" name=""/>
        <dsp:cNvSpPr/>
      </dsp:nvSpPr>
      <dsp:spPr>
        <a:xfrm>
          <a:off x="3684646" y="2157874"/>
          <a:ext cx="2367682" cy="2367682"/>
        </a:xfrm>
        <a:prstGeom prst="ellipse">
          <a:avLst/>
        </a:prstGeom>
        <a:solidFill>
          <a:srgbClr val="F53B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2000" kern="1200" dirty="0" smtClean="0"/>
            <a:t>Økonomisk</a:t>
          </a:r>
          <a:r>
            <a:rPr lang="da-DK" sz="2000" kern="1200" baseline="0" dirty="0" smtClean="0"/>
            <a:t> Bæredygtighed</a:t>
          </a:r>
          <a:endParaRPr lang="da-DK" sz="2000" kern="1200" dirty="0"/>
        </a:p>
      </dsp:txBody>
      <dsp:txXfrm>
        <a:off x="4031385" y="2504613"/>
        <a:ext cx="1674204" cy="1674204"/>
      </dsp:txXfrm>
    </dsp:sp>
    <dsp:sp modelId="{805039E1-EFA9-4993-BE8E-4216336CE11E}">
      <dsp:nvSpPr>
        <dsp:cNvPr id="0" name=""/>
        <dsp:cNvSpPr/>
      </dsp:nvSpPr>
      <dsp:spPr>
        <a:xfrm>
          <a:off x="4039798" y="744"/>
          <a:ext cx="1657377" cy="16573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300" kern="1200" dirty="0" smtClean="0"/>
            <a:t>Samfundet</a:t>
          </a:r>
          <a:endParaRPr lang="da-DK" sz="1300" kern="1200" dirty="0"/>
        </a:p>
      </dsp:txBody>
      <dsp:txXfrm>
        <a:off x="4282515" y="243461"/>
        <a:ext cx="1171943" cy="1171943"/>
      </dsp:txXfrm>
    </dsp:sp>
    <dsp:sp modelId="{971E4BB1-55A1-449F-8B6A-259411F7C58F}">
      <dsp:nvSpPr>
        <dsp:cNvPr id="0" name=""/>
        <dsp:cNvSpPr/>
      </dsp:nvSpPr>
      <dsp:spPr>
        <a:xfrm>
          <a:off x="6552081" y="2513027"/>
          <a:ext cx="1657377" cy="16573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300" kern="1200" dirty="0" smtClean="0"/>
            <a:t>Individet</a:t>
          </a:r>
          <a:endParaRPr lang="da-DK" sz="1300" kern="1200" dirty="0"/>
        </a:p>
      </dsp:txBody>
      <dsp:txXfrm>
        <a:off x="6794798" y="2755744"/>
        <a:ext cx="1171943" cy="1171943"/>
      </dsp:txXfrm>
    </dsp:sp>
    <dsp:sp modelId="{A7179A44-54A4-4491-9D28-AACCF71B9F2C}">
      <dsp:nvSpPr>
        <dsp:cNvPr id="0" name=""/>
        <dsp:cNvSpPr/>
      </dsp:nvSpPr>
      <dsp:spPr>
        <a:xfrm>
          <a:off x="4039798" y="5025310"/>
          <a:ext cx="1657377" cy="1657377"/>
        </a:xfrm>
        <a:prstGeom prst="ellipse">
          <a:avLst/>
        </a:prstGeom>
        <a:solidFill>
          <a:schemeClr val="accent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2400" kern="1200" dirty="0" smtClean="0"/>
            <a:t>Skolerne</a:t>
          </a:r>
          <a:endParaRPr lang="da-DK" sz="2400" kern="1200" dirty="0"/>
        </a:p>
      </dsp:txBody>
      <dsp:txXfrm>
        <a:off x="4282515" y="5268027"/>
        <a:ext cx="1171943" cy="1171943"/>
      </dsp:txXfrm>
    </dsp:sp>
    <dsp:sp modelId="{4015FD51-4A45-4F38-BFFA-727658F2D977}">
      <dsp:nvSpPr>
        <dsp:cNvPr id="0" name=""/>
        <dsp:cNvSpPr/>
      </dsp:nvSpPr>
      <dsp:spPr>
        <a:xfrm>
          <a:off x="1527515" y="2513027"/>
          <a:ext cx="1657377" cy="16573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300" kern="1200" dirty="0" smtClean="0"/>
            <a:t>Virksomhederne</a:t>
          </a:r>
          <a:endParaRPr lang="da-DK" sz="1300" kern="1200" dirty="0"/>
        </a:p>
      </dsp:txBody>
      <dsp:txXfrm>
        <a:off x="1770232" y="2755744"/>
        <a:ext cx="1171943" cy="117194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5DDD20-5288-4211-B1A0-8FF495856445}">
      <dsp:nvSpPr>
        <dsp:cNvPr id="0" name=""/>
        <dsp:cNvSpPr/>
      </dsp:nvSpPr>
      <dsp:spPr>
        <a:xfrm>
          <a:off x="2353714" y="769767"/>
          <a:ext cx="5143897" cy="5143897"/>
        </a:xfrm>
        <a:prstGeom prst="blockArc">
          <a:avLst>
            <a:gd name="adj1" fmla="val 10800000"/>
            <a:gd name="adj2" fmla="val 1620000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5B266A7-E76F-4BC0-9FD6-7BAE1FD1A312}">
      <dsp:nvSpPr>
        <dsp:cNvPr id="0" name=""/>
        <dsp:cNvSpPr/>
      </dsp:nvSpPr>
      <dsp:spPr>
        <a:xfrm>
          <a:off x="2353714" y="769767"/>
          <a:ext cx="5143897" cy="5143897"/>
        </a:xfrm>
        <a:prstGeom prst="blockArc">
          <a:avLst>
            <a:gd name="adj1" fmla="val 5400000"/>
            <a:gd name="adj2" fmla="val 1080000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38F9940-B004-43B1-A4F5-2B02B68ADD71}">
      <dsp:nvSpPr>
        <dsp:cNvPr id="0" name=""/>
        <dsp:cNvSpPr/>
      </dsp:nvSpPr>
      <dsp:spPr>
        <a:xfrm>
          <a:off x="2353714" y="769767"/>
          <a:ext cx="5143897" cy="5143897"/>
        </a:xfrm>
        <a:prstGeom prst="blockArc">
          <a:avLst>
            <a:gd name="adj1" fmla="val 0"/>
            <a:gd name="adj2" fmla="val 540000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6B8ED8-E1CC-48A7-B532-5173DD83C7F7}">
      <dsp:nvSpPr>
        <dsp:cNvPr id="0" name=""/>
        <dsp:cNvSpPr/>
      </dsp:nvSpPr>
      <dsp:spPr>
        <a:xfrm>
          <a:off x="2353714" y="769767"/>
          <a:ext cx="5143897" cy="5143897"/>
        </a:xfrm>
        <a:prstGeom prst="blockArc">
          <a:avLst>
            <a:gd name="adj1" fmla="val 16200000"/>
            <a:gd name="adj2" fmla="val 0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8D406D8-4CFE-4B1D-B3A4-CDA3F734529C}">
      <dsp:nvSpPr>
        <dsp:cNvPr id="0" name=""/>
        <dsp:cNvSpPr/>
      </dsp:nvSpPr>
      <dsp:spPr>
        <a:xfrm>
          <a:off x="3741821" y="2157874"/>
          <a:ext cx="2367682" cy="2367682"/>
        </a:xfrm>
        <a:prstGeom prst="ellipse">
          <a:avLst/>
        </a:prstGeom>
        <a:solidFill>
          <a:srgbClr val="F53B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2000" kern="1200" dirty="0" smtClean="0"/>
            <a:t>Økonomisk</a:t>
          </a:r>
          <a:r>
            <a:rPr lang="da-DK" sz="2000" kern="1200" baseline="0" dirty="0" smtClean="0"/>
            <a:t> Bæredygtighed</a:t>
          </a:r>
          <a:endParaRPr lang="da-DK" sz="2000" kern="1200" dirty="0"/>
        </a:p>
      </dsp:txBody>
      <dsp:txXfrm>
        <a:off x="4088560" y="2504613"/>
        <a:ext cx="1674204" cy="1674204"/>
      </dsp:txXfrm>
    </dsp:sp>
    <dsp:sp modelId="{805039E1-EFA9-4993-BE8E-4216336CE11E}">
      <dsp:nvSpPr>
        <dsp:cNvPr id="0" name=""/>
        <dsp:cNvSpPr/>
      </dsp:nvSpPr>
      <dsp:spPr>
        <a:xfrm>
          <a:off x="4096974" y="744"/>
          <a:ext cx="1657377" cy="16573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900" kern="1200" dirty="0" smtClean="0"/>
            <a:t>Samfundet</a:t>
          </a:r>
          <a:endParaRPr lang="da-DK" sz="1900" kern="1200" dirty="0"/>
        </a:p>
      </dsp:txBody>
      <dsp:txXfrm>
        <a:off x="4339691" y="243461"/>
        <a:ext cx="1171943" cy="1171943"/>
      </dsp:txXfrm>
    </dsp:sp>
    <dsp:sp modelId="{971E4BB1-55A1-449F-8B6A-259411F7C58F}">
      <dsp:nvSpPr>
        <dsp:cNvPr id="0" name=""/>
        <dsp:cNvSpPr/>
      </dsp:nvSpPr>
      <dsp:spPr>
        <a:xfrm>
          <a:off x="6609257" y="2513027"/>
          <a:ext cx="1657377" cy="16573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900" kern="1200" dirty="0" smtClean="0"/>
            <a:t>Borgeren</a:t>
          </a:r>
          <a:endParaRPr lang="da-DK" sz="1900" kern="1200" dirty="0"/>
        </a:p>
      </dsp:txBody>
      <dsp:txXfrm>
        <a:off x="6851974" y="2755744"/>
        <a:ext cx="1171943" cy="1171943"/>
      </dsp:txXfrm>
    </dsp:sp>
    <dsp:sp modelId="{A7179A44-54A4-4491-9D28-AACCF71B9F2C}">
      <dsp:nvSpPr>
        <dsp:cNvPr id="0" name=""/>
        <dsp:cNvSpPr/>
      </dsp:nvSpPr>
      <dsp:spPr>
        <a:xfrm>
          <a:off x="4096974" y="5025310"/>
          <a:ext cx="1657377" cy="16573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900" kern="1200" dirty="0" smtClean="0"/>
            <a:t>Skolerne</a:t>
          </a:r>
          <a:endParaRPr lang="da-DK" sz="1900" kern="1200" dirty="0"/>
        </a:p>
      </dsp:txBody>
      <dsp:txXfrm>
        <a:off x="4339691" y="5268027"/>
        <a:ext cx="1171943" cy="1171943"/>
      </dsp:txXfrm>
    </dsp:sp>
    <dsp:sp modelId="{4015FD51-4A45-4F38-BFFA-727658F2D977}">
      <dsp:nvSpPr>
        <dsp:cNvPr id="0" name=""/>
        <dsp:cNvSpPr/>
      </dsp:nvSpPr>
      <dsp:spPr>
        <a:xfrm>
          <a:off x="1470340" y="2513027"/>
          <a:ext cx="1886079" cy="16573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900" kern="1200" dirty="0" err="1" smtClean="0"/>
            <a:t>Virksom-hederne</a:t>
          </a:r>
          <a:endParaRPr lang="da-DK" sz="1900" kern="1200" dirty="0"/>
        </a:p>
      </dsp:txBody>
      <dsp:txXfrm>
        <a:off x="1746550" y="2755744"/>
        <a:ext cx="1333659" cy="11719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smtClean="0"/>
              <a:t>Klik for at redigere undertiteltypografien i masteren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F11C9-9FD0-4F12-8C89-324EC6766D3E}" type="datetimeFigureOut">
              <a:rPr lang="da-DK" smtClean="0"/>
              <a:t>18-06-2018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07F33-BC49-4D0A-81AE-4735D5FA752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571941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F11C9-9FD0-4F12-8C89-324EC6766D3E}" type="datetimeFigureOut">
              <a:rPr lang="da-DK" smtClean="0"/>
              <a:t>18-06-2018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07F33-BC49-4D0A-81AE-4735D5FA752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598886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F11C9-9FD0-4F12-8C89-324EC6766D3E}" type="datetimeFigureOut">
              <a:rPr lang="da-DK" smtClean="0"/>
              <a:t>18-06-2018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07F33-BC49-4D0A-81AE-4735D5FA752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583515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a-DK" noProof="0" smtClean="0"/>
              <a:t>Klik for at redigere i master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 bwMode="gray">
          <a:xfrm>
            <a:off x="624000" y="1484313"/>
            <a:ext cx="7199200" cy="4608512"/>
          </a:xfrm>
        </p:spPr>
        <p:txBody>
          <a:bodyPr/>
          <a:lstStyle/>
          <a:p>
            <a:pPr lvl="0"/>
            <a:r>
              <a:rPr lang="da-DK" noProof="0" dirty="0" smtClean="0"/>
              <a:t>Klik for at redigere i master</a:t>
            </a:r>
          </a:p>
          <a:p>
            <a:pPr lvl="1"/>
            <a:r>
              <a:rPr lang="da-DK" noProof="0" dirty="0" smtClean="0"/>
              <a:t>Andet niveau</a:t>
            </a:r>
          </a:p>
          <a:p>
            <a:pPr lvl="2"/>
            <a:r>
              <a:rPr lang="da-DK" noProof="0" dirty="0" smtClean="0"/>
              <a:t>Tredje niveau</a:t>
            </a:r>
          </a:p>
          <a:p>
            <a:pPr lvl="3"/>
            <a:r>
              <a:rPr lang="da-DK" noProof="0" dirty="0" smtClean="0"/>
              <a:t>Fjerde niveau</a:t>
            </a:r>
          </a:p>
          <a:p>
            <a:pPr lvl="4"/>
            <a:r>
              <a:rPr lang="da-DK" noProof="0" dirty="0" smtClean="0"/>
              <a:t>Femte niveau</a:t>
            </a:r>
            <a:endParaRPr lang="en-US" noProof="0" dirty="0"/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xmlns="" id="{EA1B653A-4474-4AF3-B8E6-100398ED22BB}"/>
              </a:ext>
            </a:extLst>
          </p:cNvPr>
          <p:cNvSpPr txBox="1"/>
          <p:nvPr userDrawn="1"/>
        </p:nvSpPr>
        <p:spPr bwMode="gray">
          <a:xfrm>
            <a:off x="649668" y="6633357"/>
            <a:ext cx="1077848" cy="12279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da-DK" sz="700" dirty="0">
                <a:solidFill>
                  <a:schemeClr val="bg2"/>
                </a:solidFill>
              </a:rPr>
              <a:t>Side </a:t>
            </a:r>
            <a:fld id="{C78CC974-3339-4E2B-9445-543FEBF86613}" type="slidenum">
              <a:rPr lang="da-DK" sz="700" smtClean="0">
                <a:solidFill>
                  <a:schemeClr val="bg2"/>
                </a:solidFill>
              </a:rPr>
              <a:pPr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</a:pPr>
              <a:t>‹nr.›</a:t>
            </a:fld>
            <a:endParaRPr lang="da-DK" sz="700" dirty="0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706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F11C9-9FD0-4F12-8C89-324EC6766D3E}" type="datetimeFigureOut">
              <a:rPr lang="da-DK" smtClean="0"/>
              <a:t>18-06-2018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07F33-BC49-4D0A-81AE-4735D5FA752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536422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F11C9-9FD0-4F12-8C89-324EC6766D3E}" type="datetimeFigureOut">
              <a:rPr lang="da-DK" smtClean="0"/>
              <a:t>18-06-2018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07F33-BC49-4D0A-81AE-4735D5FA752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042571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F11C9-9FD0-4F12-8C89-324EC6766D3E}" type="datetimeFigureOut">
              <a:rPr lang="da-DK" smtClean="0"/>
              <a:t>18-06-2018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07F33-BC49-4D0A-81AE-4735D5FA752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778761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F11C9-9FD0-4F12-8C89-324EC6766D3E}" type="datetimeFigureOut">
              <a:rPr lang="da-DK" smtClean="0"/>
              <a:t>18-06-2018</a:t>
            </a:fld>
            <a:endParaRPr lang="da-DK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07F33-BC49-4D0A-81AE-4735D5FA752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074442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F11C9-9FD0-4F12-8C89-324EC6766D3E}" type="datetimeFigureOut">
              <a:rPr lang="da-DK" smtClean="0"/>
              <a:t>18-06-2018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07F33-BC49-4D0A-81AE-4735D5FA752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8736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F11C9-9FD0-4F12-8C89-324EC6766D3E}" type="datetimeFigureOut">
              <a:rPr lang="da-DK" smtClean="0"/>
              <a:t>18-06-2018</a:t>
            </a:fld>
            <a:endParaRPr lang="da-DK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07F33-BC49-4D0A-81AE-4735D5FA752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510607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F11C9-9FD0-4F12-8C89-324EC6766D3E}" type="datetimeFigureOut">
              <a:rPr lang="da-DK" smtClean="0"/>
              <a:t>18-06-2018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07F33-BC49-4D0A-81AE-4735D5FA752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38883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F11C9-9FD0-4F12-8C89-324EC6766D3E}" type="datetimeFigureOut">
              <a:rPr lang="da-DK" smtClean="0"/>
              <a:t>18-06-2018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07F33-BC49-4D0A-81AE-4735D5FA752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467453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AF11C9-9FD0-4F12-8C89-324EC6766D3E}" type="datetimeFigureOut">
              <a:rPr lang="da-DK" smtClean="0"/>
              <a:t>18-06-2018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A07F33-BC49-4D0A-81AE-4735D5FA752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08918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/>
        </p:nvGraphicFramePr>
        <p:xfrm>
          <a:off x="1039089" y="174568"/>
          <a:ext cx="9736975" cy="66834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13394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797465857"/>
              </p:ext>
            </p:extLst>
          </p:nvPr>
        </p:nvGraphicFramePr>
        <p:xfrm>
          <a:off x="1039089" y="174568"/>
          <a:ext cx="9736975" cy="66834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kstfelt 1"/>
          <p:cNvSpPr txBox="1"/>
          <p:nvPr/>
        </p:nvSpPr>
        <p:spPr>
          <a:xfrm>
            <a:off x="982284" y="1845424"/>
            <a:ext cx="9933365" cy="5078313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da-DK" dirty="0" smtClean="0"/>
              <a:t>De mange milliarder, der årligt investeres i voksen- og efteruddannelse, skal gern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dirty="0"/>
              <a:t>S</a:t>
            </a:r>
            <a:r>
              <a:rPr lang="da-DK" dirty="0" smtClean="0"/>
              <a:t>ikre at alle nuværende og fremtidige medarbejdere, har nem adgang til løbende opkvalificering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dirty="0" smtClean="0"/>
              <a:t>Sikre højest mulig beskæftigelse og dermed høj produktion hos virksomhedern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dirty="0" smtClean="0"/>
              <a:t>Sikre højest mulig skatteindtægtsgrundlag fra borgere og virksomheder, til gavn for velfærdssamfundet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lvl="1"/>
            <a:r>
              <a:rPr lang="da-DK" dirty="0" smtClean="0"/>
              <a:t> </a:t>
            </a:r>
            <a:endParaRPr lang="da-DK" dirty="0"/>
          </a:p>
        </p:txBody>
      </p:sp>
      <p:grpSp>
        <p:nvGrpSpPr>
          <p:cNvPr id="5" name="Gruppe 4"/>
          <p:cNvGrpSpPr/>
          <p:nvPr/>
        </p:nvGrpSpPr>
        <p:grpSpPr>
          <a:xfrm>
            <a:off x="-284337" y="-522258"/>
            <a:ext cx="2367682" cy="2367682"/>
            <a:chOff x="3684646" y="2157874"/>
            <a:chExt cx="2367682" cy="2367682"/>
          </a:xfrm>
        </p:grpSpPr>
        <p:sp>
          <p:nvSpPr>
            <p:cNvPr id="6" name="Ellipse 5"/>
            <p:cNvSpPr/>
            <p:nvPr/>
          </p:nvSpPr>
          <p:spPr>
            <a:xfrm>
              <a:off x="3684646" y="2157874"/>
              <a:ext cx="2367682" cy="2367682"/>
            </a:xfrm>
            <a:prstGeom prst="ellipse">
              <a:avLst/>
            </a:prstGeom>
            <a:solidFill>
              <a:srgbClr val="F53BC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Ellipse 4"/>
            <p:cNvSpPr txBox="1"/>
            <p:nvPr/>
          </p:nvSpPr>
          <p:spPr>
            <a:xfrm>
              <a:off x="4031385" y="2504613"/>
              <a:ext cx="1674204" cy="16742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25400" rIns="25400" bIns="254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2000" kern="1200" dirty="0" smtClean="0"/>
                <a:t>Økonomisk</a:t>
              </a:r>
              <a:r>
                <a:rPr lang="da-DK" sz="2000" kern="1200" baseline="0" dirty="0" smtClean="0"/>
                <a:t> Bæredygtighed</a:t>
              </a:r>
              <a:endParaRPr lang="da-DK" sz="20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227229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055956517"/>
              </p:ext>
            </p:extLst>
          </p:nvPr>
        </p:nvGraphicFramePr>
        <p:xfrm>
          <a:off x="1039089" y="174568"/>
          <a:ext cx="9736975" cy="66834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kstfelt 1"/>
          <p:cNvSpPr txBox="1"/>
          <p:nvPr/>
        </p:nvSpPr>
        <p:spPr>
          <a:xfrm>
            <a:off x="4516060" y="174568"/>
            <a:ext cx="6942516" cy="646330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da-DK" dirty="0" smtClean="0"/>
          </a:p>
          <a:p>
            <a:r>
              <a:rPr lang="da-DK" dirty="0" smtClean="0"/>
              <a:t>De mange milliarder, der årligt investeres i voksen- og efteruddannelse, skal gern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dirty="0" smtClean="0"/>
              <a:t>Sikre høj fleksibilitet på det dansk arbejdsmarked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dirty="0" smtClean="0"/>
              <a:t>Sikre at arbejdsgiverne har adgang til kvalificeret arbejdskraft i Danmark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dirty="0" smtClean="0"/>
              <a:t>Sikre at arbejdsgiverne har nem adgang til at opkvalificere/efteruddanne deres medarbejder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 smtClean="0"/>
          </a:p>
          <a:p>
            <a:pPr lvl="1"/>
            <a:endParaRPr lang="da-DK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lvl="1"/>
            <a:endParaRPr lang="da-DK" dirty="0"/>
          </a:p>
          <a:p>
            <a:pPr lvl="1"/>
            <a:r>
              <a:rPr lang="da-DK" dirty="0" smtClean="0"/>
              <a:t> </a:t>
            </a:r>
            <a:endParaRPr lang="da-DK" dirty="0"/>
          </a:p>
        </p:txBody>
      </p:sp>
      <p:grpSp>
        <p:nvGrpSpPr>
          <p:cNvPr id="8" name="Gruppe 7"/>
          <p:cNvGrpSpPr/>
          <p:nvPr/>
        </p:nvGrpSpPr>
        <p:grpSpPr>
          <a:xfrm>
            <a:off x="-284337" y="-522258"/>
            <a:ext cx="2367682" cy="2367682"/>
            <a:chOff x="3684646" y="2157874"/>
            <a:chExt cx="2367682" cy="2367682"/>
          </a:xfrm>
        </p:grpSpPr>
        <p:sp>
          <p:nvSpPr>
            <p:cNvPr id="9" name="Ellipse 8"/>
            <p:cNvSpPr/>
            <p:nvPr/>
          </p:nvSpPr>
          <p:spPr>
            <a:xfrm>
              <a:off x="3684646" y="2157874"/>
              <a:ext cx="2367682" cy="2367682"/>
            </a:xfrm>
            <a:prstGeom prst="ellipse">
              <a:avLst/>
            </a:prstGeom>
            <a:solidFill>
              <a:srgbClr val="F53BC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Ellipse 4"/>
            <p:cNvSpPr txBox="1"/>
            <p:nvPr/>
          </p:nvSpPr>
          <p:spPr>
            <a:xfrm>
              <a:off x="4031385" y="2504613"/>
              <a:ext cx="1674204" cy="16742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25400" rIns="25400" bIns="254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2000" kern="1200" dirty="0" smtClean="0"/>
                <a:t>Økonomisk</a:t>
              </a:r>
              <a:r>
                <a:rPr lang="da-DK" sz="2000" kern="1200" baseline="0" dirty="0" smtClean="0"/>
                <a:t> Bæredygtighed</a:t>
              </a:r>
              <a:endParaRPr lang="da-DK" sz="20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066109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735916351"/>
              </p:ext>
            </p:extLst>
          </p:nvPr>
        </p:nvGraphicFramePr>
        <p:xfrm>
          <a:off x="1039089" y="174568"/>
          <a:ext cx="9736975" cy="66834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kstfelt 1"/>
          <p:cNvSpPr txBox="1"/>
          <p:nvPr/>
        </p:nvSpPr>
        <p:spPr>
          <a:xfrm>
            <a:off x="1736606" y="190781"/>
            <a:ext cx="5764127" cy="646330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r>
              <a:rPr lang="da-DK" dirty="0" smtClean="0"/>
              <a:t>De mange milliarder, der årligt investeres i voksen- og efteruddannelse, skal gern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dirty="0" smtClean="0"/>
              <a:t>Sikre mulighederne for nemt at kunne opkvalificere/efteruddanne sig hele livet – livslang læring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dirty="0" smtClean="0"/>
              <a:t>Sikre at borgeren herved kan fastholde/skifte job – eller komme i beskæftigels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lvl="1"/>
            <a:endParaRPr lang="da-DK" dirty="0"/>
          </a:p>
          <a:p>
            <a:pPr lvl="1"/>
            <a:r>
              <a:rPr lang="da-DK" dirty="0" smtClean="0"/>
              <a:t> </a:t>
            </a:r>
            <a:endParaRPr lang="da-DK" dirty="0"/>
          </a:p>
        </p:txBody>
      </p:sp>
      <p:grpSp>
        <p:nvGrpSpPr>
          <p:cNvPr id="8" name="Gruppe 7"/>
          <p:cNvGrpSpPr/>
          <p:nvPr/>
        </p:nvGrpSpPr>
        <p:grpSpPr>
          <a:xfrm>
            <a:off x="-284337" y="-522258"/>
            <a:ext cx="2367682" cy="2367682"/>
            <a:chOff x="3684646" y="2157874"/>
            <a:chExt cx="2367682" cy="2367682"/>
          </a:xfrm>
        </p:grpSpPr>
        <p:sp>
          <p:nvSpPr>
            <p:cNvPr id="9" name="Ellipse 8"/>
            <p:cNvSpPr/>
            <p:nvPr/>
          </p:nvSpPr>
          <p:spPr>
            <a:xfrm>
              <a:off x="3684646" y="2157874"/>
              <a:ext cx="2367682" cy="2367682"/>
            </a:xfrm>
            <a:prstGeom prst="ellipse">
              <a:avLst/>
            </a:prstGeom>
            <a:solidFill>
              <a:srgbClr val="F53BC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Ellipse 4"/>
            <p:cNvSpPr txBox="1"/>
            <p:nvPr/>
          </p:nvSpPr>
          <p:spPr>
            <a:xfrm>
              <a:off x="4031385" y="2504613"/>
              <a:ext cx="1674204" cy="16742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25400" rIns="25400" bIns="254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2000" kern="1200" dirty="0" smtClean="0"/>
                <a:t>Økonomisk</a:t>
              </a:r>
              <a:r>
                <a:rPr lang="da-DK" sz="2000" kern="1200" baseline="0" dirty="0" smtClean="0"/>
                <a:t> Bæredygtighed</a:t>
              </a:r>
              <a:endParaRPr lang="da-DK" sz="20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636852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439867611"/>
              </p:ext>
            </p:extLst>
          </p:nvPr>
        </p:nvGraphicFramePr>
        <p:xfrm>
          <a:off x="1039089" y="174568"/>
          <a:ext cx="9736975" cy="66834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kstfelt 1"/>
          <p:cNvSpPr txBox="1"/>
          <p:nvPr/>
        </p:nvSpPr>
        <p:spPr>
          <a:xfrm>
            <a:off x="2436318" y="173805"/>
            <a:ext cx="6907187" cy="480131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da-DK" dirty="0" smtClean="0"/>
          </a:p>
          <a:p>
            <a:r>
              <a:rPr lang="da-DK" dirty="0" smtClean="0"/>
              <a:t>Økonomisk bæredygtighed for samfundet, virksomhederne og borgeren sikres gennem </a:t>
            </a:r>
            <a:r>
              <a:rPr lang="da-DK" b="1" u="sng" dirty="0" smtClean="0"/>
              <a:t>sund konkurrence skolerne i mellem</a:t>
            </a:r>
            <a:r>
              <a:rPr lang="da-DK" dirty="0" smtClean="0"/>
              <a:t>, således at de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dirty="0" smtClean="0"/>
              <a:t>Sikres at skolerne </a:t>
            </a:r>
            <a:r>
              <a:rPr lang="da-DK" b="1" u="sng" dirty="0" smtClean="0"/>
              <a:t>nemt</a:t>
            </a:r>
            <a:r>
              <a:rPr lang="da-DK" dirty="0" smtClean="0"/>
              <a:t> har mulighed for at udvikle og afholde aktiviteter i takt med arbejdsmarkedets behov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dirty="0" smtClean="0"/>
              <a:t>Sikres at skolerne afholder relevante kurser på rette sted, tid og i rette kvalitet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a-DK" dirty="0" smtClean="0"/>
              <a:t>Frekvens.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a-DK" dirty="0" smtClean="0"/>
              <a:t>Geografisk placering uafhængig af regionsgrænser.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a-DK" dirty="0" smtClean="0"/>
              <a:t>Dag/weekend/aften.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a-DK" dirty="0" smtClean="0"/>
              <a:t>Afholdelsesgaranti.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a-DK" dirty="0" smtClean="0"/>
              <a:t>Forsyningssikkerhed.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da-DK" dirty="0"/>
          </a:p>
          <a:p>
            <a:r>
              <a:rPr lang="da-DK" dirty="0" smtClean="0"/>
              <a:t> </a:t>
            </a:r>
          </a:p>
          <a:p>
            <a:endParaRPr lang="da-DK" dirty="0"/>
          </a:p>
        </p:txBody>
      </p:sp>
      <p:grpSp>
        <p:nvGrpSpPr>
          <p:cNvPr id="8" name="Gruppe 7"/>
          <p:cNvGrpSpPr/>
          <p:nvPr/>
        </p:nvGrpSpPr>
        <p:grpSpPr>
          <a:xfrm>
            <a:off x="-284337" y="-522258"/>
            <a:ext cx="2367682" cy="2367682"/>
            <a:chOff x="3684646" y="2157874"/>
            <a:chExt cx="2367682" cy="2367682"/>
          </a:xfrm>
        </p:grpSpPr>
        <p:sp>
          <p:nvSpPr>
            <p:cNvPr id="9" name="Ellipse 8"/>
            <p:cNvSpPr/>
            <p:nvPr/>
          </p:nvSpPr>
          <p:spPr>
            <a:xfrm>
              <a:off x="3684646" y="2157874"/>
              <a:ext cx="2367682" cy="2367682"/>
            </a:xfrm>
            <a:prstGeom prst="ellipse">
              <a:avLst/>
            </a:prstGeom>
            <a:solidFill>
              <a:srgbClr val="F53BC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Ellipse 4"/>
            <p:cNvSpPr txBox="1"/>
            <p:nvPr/>
          </p:nvSpPr>
          <p:spPr>
            <a:xfrm>
              <a:off x="4031385" y="2504613"/>
              <a:ext cx="1674204" cy="16742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25400" rIns="25400" bIns="254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2000" kern="1200" dirty="0" smtClean="0"/>
                <a:t>Økonomisk</a:t>
              </a:r>
              <a:r>
                <a:rPr lang="da-DK" sz="2000" kern="1200" baseline="0" dirty="0" smtClean="0"/>
                <a:t> Bæredygtighed</a:t>
              </a:r>
              <a:endParaRPr lang="da-DK" sz="20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72740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33599" y="355063"/>
            <a:ext cx="6852742" cy="792000"/>
          </a:xfrm>
        </p:spPr>
        <p:txBody>
          <a:bodyPr>
            <a:noAutofit/>
          </a:bodyPr>
          <a:lstStyle/>
          <a:p>
            <a:r>
              <a:rPr lang="da-DK" sz="2400" dirty="0" smtClean="0">
                <a:latin typeface="+mn-lt"/>
              </a:rPr>
              <a:t>Udvikling</a:t>
            </a:r>
            <a:r>
              <a:rPr lang="da-DK" sz="2400" baseline="0" dirty="0" smtClean="0">
                <a:latin typeface="+mn-lt"/>
              </a:rPr>
              <a:t> i årselever 2011-2017 fordelt på de største efteruddannelsesudvalg.</a:t>
            </a:r>
            <a:endParaRPr lang="da-DK" sz="2400" dirty="0">
              <a:latin typeface="+mn-lt"/>
            </a:endParaRPr>
          </a:p>
        </p:txBody>
      </p:sp>
      <p:graphicFrame>
        <p:nvGraphicFramePr>
          <p:cNvPr id="8" name="Diagram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74537384"/>
              </p:ext>
            </p:extLst>
          </p:nvPr>
        </p:nvGraphicFramePr>
        <p:xfrm>
          <a:off x="2133599" y="1068161"/>
          <a:ext cx="6540500" cy="53519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Forbindelse 10"/>
          <p:cNvSpPr/>
          <p:nvPr/>
        </p:nvSpPr>
        <p:spPr bwMode="gray">
          <a:xfrm>
            <a:off x="8815698" y="959752"/>
            <a:ext cx="3376302" cy="2938917"/>
          </a:xfrm>
          <a:prstGeom prst="flowChartConnector">
            <a:avLst/>
          </a:prstGeom>
          <a:solidFill>
            <a:schemeClr val="accent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da-DK" sz="1600" b="1" dirty="0" smtClean="0"/>
              <a:t/>
            </a:r>
            <a:br>
              <a:rPr lang="da-DK" sz="1600" b="1" dirty="0" smtClean="0"/>
            </a:br>
            <a:r>
              <a:rPr lang="da-DK" sz="1600" b="1" dirty="0" smtClean="0"/>
              <a:t>Aktiviteten i Transport-uddannelserne er stigende i perioden</a:t>
            </a:r>
            <a:r>
              <a:rPr lang="da-DK" sz="1400" b="1" dirty="0" smtClean="0"/>
              <a:t>.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da-DK" sz="1400" b="1" dirty="0" smtClean="0"/>
              <a:t/>
            </a:r>
            <a:br>
              <a:rPr lang="da-DK" sz="1400" b="1" dirty="0" smtClean="0"/>
            </a:br>
            <a:r>
              <a:rPr lang="da-DK" sz="1400" i="1" dirty="0" smtClean="0"/>
              <a:t>Lovpligtige kurser har været der i hele perioden og dette kan ikke forklare stigningen</a:t>
            </a:r>
            <a:r>
              <a:rPr lang="da-DK" sz="1400" dirty="0" smtClean="0"/>
              <a:t>.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endParaRPr lang="da-DK" sz="1400" dirty="0"/>
          </a:p>
        </p:txBody>
      </p:sp>
      <p:sp>
        <p:nvSpPr>
          <p:cNvPr id="13" name="Rektangel 12"/>
          <p:cNvSpPr/>
          <p:nvPr/>
        </p:nvSpPr>
        <p:spPr>
          <a:xfrm>
            <a:off x="1564178" y="6511882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a-DK" sz="800" dirty="0"/>
              <a:t>Kilde: http://statweb.uni-c.dk/Databanken/uvmdatawe</a:t>
            </a:r>
          </a:p>
        </p:txBody>
      </p:sp>
      <p:sp>
        <p:nvSpPr>
          <p:cNvPr id="3" name="Tekstfelt 2"/>
          <p:cNvSpPr txBox="1"/>
          <p:nvPr/>
        </p:nvSpPr>
        <p:spPr>
          <a:xfrm>
            <a:off x="340822" y="1762298"/>
            <a:ext cx="179277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smtClean="0"/>
              <a:t>Antal årselever 2011: 9.500</a:t>
            </a:r>
          </a:p>
          <a:p>
            <a:endParaRPr lang="da-DK" dirty="0"/>
          </a:p>
          <a:p>
            <a:r>
              <a:rPr lang="da-DK" dirty="0" smtClean="0"/>
              <a:t>Antal årselever i 2017: 7.600</a:t>
            </a:r>
          </a:p>
          <a:p>
            <a:endParaRPr lang="da-DK" dirty="0"/>
          </a:p>
          <a:p>
            <a:r>
              <a:rPr lang="da-DK" dirty="0" smtClean="0"/>
              <a:t>Fald på 20%.</a:t>
            </a:r>
            <a:endParaRPr lang="da-DK" dirty="0"/>
          </a:p>
        </p:txBody>
      </p:sp>
      <p:sp>
        <p:nvSpPr>
          <p:cNvPr id="4" name="Højrepil 3"/>
          <p:cNvSpPr/>
          <p:nvPr/>
        </p:nvSpPr>
        <p:spPr>
          <a:xfrm>
            <a:off x="8171321" y="2017964"/>
            <a:ext cx="573578" cy="20970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grpSp>
        <p:nvGrpSpPr>
          <p:cNvPr id="10" name="Gruppe 9"/>
          <p:cNvGrpSpPr/>
          <p:nvPr/>
        </p:nvGrpSpPr>
        <p:grpSpPr>
          <a:xfrm>
            <a:off x="-284337" y="-522258"/>
            <a:ext cx="2367682" cy="2367682"/>
            <a:chOff x="3684646" y="2157874"/>
            <a:chExt cx="2367682" cy="2367682"/>
          </a:xfrm>
        </p:grpSpPr>
        <p:sp>
          <p:nvSpPr>
            <p:cNvPr id="12" name="Ellipse 11"/>
            <p:cNvSpPr/>
            <p:nvPr/>
          </p:nvSpPr>
          <p:spPr>
            <a:xfrm>
              <a:off x="3684646" y="2157874"/>
              <a:ext cx="2367682" cy="2367682"/>
            </a:xfrm>
            <a:prstGeom prst="ellipse">
              <a:avLst/>
            </a:prstGeom>
            <a:solidFill>
              <a:srgbClr val="F53BC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Ellipse 4"/>
            <p:cNvSpPr txBox="1"/>
            <p:nvPr/>
          </p:nvSpPr>
          <p:spPr>
            <a:xfrm>
              <a:off x="4031385" y="2504613"/>
              <a:ext cx="1674204" cy="16742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25400" rIns="25400" bIns="254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2000" kern="1200" dirty="0" smtClean="0"/>
                <a:t>Økonomisk</a:t>
              </a:r>
              <a:r>
                <a:rPr lang="da-DK" sz="2000" kern="1200" baseline="0" dirty="0" smtClean="0"/>
                <a:t> Bæredygtighed</a:t>
              </a:r>
              <a:endParaRPr lang="da-DK" sz="20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223216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7934" y="99118"/>
            <a:ext cx="9175865" cy="1325563"/>
          </a:xfrm>
        </p:spPr>
        <p:txBody>
          <a:bodyPr>
            <a:noAutofit/>
          </a:bodyPr>
          <a:lstStyle/>
          <a:p>
            <a:r>
              <a:rPr lang="da-DK" sz="2400" dirty="0" smtClean="0">
                <a:latin typeface="+mn-lt"/>
              </a:rPr>
              <a:t>Transportuddannelser er det område, der er mest konkurrenceudsat. </a:t>
            </a:r>
            <a:br>
              <a:rPr lang="da-DK" sz="2400" dirty="0" smtClean="0">
                <a:latin typeface="+mn-lt"/>
              </a:rPr>
            </a:br>
            <a:r>
              <a:rPr lang="da-DK" sz="2400" dirty="0" smtClean="0">
                <a:latin typeface="+mn-lt"/>
              </a:rPr>
              <a:t>Her ses vækst i årselever </a:t>
            </a:r>
            <a:r>
              <a:rPr lang="da-DK" sz="2400" b="1" u="sng" dirty="0" smtClean="0">
                <a:latin typeface="+mn-lt"/>
              </a:rPr>
              <a:t>både</a:t>
            </a:r>
            <a:r>
              <a:rPr lang="da-DK" sz="2400" dirty="0" smtClean="0">
                <a:latin typeface="+mn-lt"/>
              </a:rPr>
              <a:t> hos private og offentlige udbyder pga. konkurrencen.</a:t>
            </a:r>
            <a:endParaRPr lang="da-DK" sz="2400" dirty="0">
              <a:latin typeface="+mn-lt"/>
            </a:endParaRPr>
          </a:p>
        </p:txBody>
      </p:sp>
      <p:sp>
        <p:nvSpPr>
          <p:cNvPr id="5" name="Rektangel 4"/>
          <p:cNvSpPr/>
          <p:nvPr/>
        </p:nvSpPr>
        <p:spPr>
          <a:xfrm>
            <a:off x="1880062" y="6560387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a-DK" sz="800" dirty="0"/>
              <a:t>Kilde: http://statweb.uni-c.dk/Databanken/uvmdatawe</a:t>
            </a:r>
          </a:p>
        </p:txBody>
      </p:sp>
      <p:graphicFrame>
        <p:nvGraphicFramePr>
          <p:cNvPr id="6" name="Diagram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28273522"/>
              </p:ext>
            </p:extLst>
          </p:nvPr>
        </p:nvGraphicFramePr>
        <p:xfrm>
          <a:off x="2557462" y="1389828"/>
          <a:ext cx="7077075" cy="5205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kstfelt 3"/>
          <p:cNvSpPr txBox="1"/>
          <p:nvPr/>
        </p:nvSpPr>
        <p:spPr>
          <a:xfrm>
            <a:off x="3865419" y="1354974"/>
            <a:ext cx="50855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/>
              <a:t>Udviklingen i årselever i 2011-2017  (</a:t>
            </a:r>
            <a:r>
              <a:rPr lang="da-DK" dirty="0" smtClean="0"/>
              <a:t>TUR/Transport)</a:t>
            </a:r>
            <a:endParaRPr lang="da-DK" dirty="0"/>
          </a:p>
        </p:txBody>
      </p:sp>
      <p:grpSp>
        <p:nvGrpSpPr>
          <p:cNvPr id="7" name="Gruppe 6"/>
          <p:cNvGrpSpPr/>
          <p:nvPr/>
        </p:nvGrpSpPr>
        <p:grpSpPr>
          <a:xfrm>
            <a:off x="-284337" y="-522258"/>
            <a:ext cx="2367682" cy="2367682"/>
            <a:chOff x="3684646" y="2157874"/>
            <a:chExt cx="2367682" cy="2367682"/>
          </a:xfrm>
        </p:grpSpPr>
        <p:sp>
          <p:nvSpPr>
            <p:cNvPr id="8" name="Ellipse 7"/>
            <p:cNvSpPr/>
            <p:nvPr/>
          </p:nvSpPr>
          <p:spPr>
            <a:xfrm>
              <a:off x="3684646" y="2157874"/>
              <a:ext cx="2367682" cy="2367682"/>
            </a:xfrm>
            <a:prstGeom prst="ellipse">
              <a:avLst/>
            </a:prstGeom>
            <a:solidFill>
              <a:srgbClr val="F53BC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Ellipse 4"/>
            <p:cNvSpPr txBox="1"/>
            <p:nvPr/>
          </p:nvSpPr>
          <p:spPr>
            <a:xfrm>
              <a:off x="4031385" y="2504613"/>
              <a:ext cx="1674204" cy="16742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400" tIns="25400" rIns="25400" bIns="254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a-DK" sz="2000" kern="1200" dirty="0" smtClean="0"/>
                <a:t>Økonomisk</a:t>
              </a:r>
              <a:r>
                <a:rPr lang="da-DK" sz="2000" kern="1200" baseline="0" dirty="0" smtClean="0"/>
                <a:t> Bæredygtighed</a:t>
              </a:r>
              <a:endParaRPr lang="da-DK" sz="20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31853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Data baggrund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4" name="Billed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713" y="1690688"/>
            <a:ext cx="12098821" cy="2340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158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648235415"/>
              </p:ext>
            </p:extLst>
          </p:nvPr>
        </p:nvGraphicFramePr>
        <p:xfrm>
          <a:off x="1039089" y="174568"/>
          <a:ext cx="9736975" cy="66834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800064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15</Words>
  <Application>Microsoft Office PowerPoint</Application>
  <PresentationFormat>Brugerdefineret</PresentationFormat>
  <Paragraphs>120</Paragraphs>
  <Slides>9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Diastitler</vt:lpstr>
      </vt:variant>
      <vt:variant>
        <vt:i4>9</vt:i4>
      </vt:variant>
    </vt:vector>
  </HeadingPairs>
  <TitlesOfParts>
    <vt:vector size="11" baseType="lpstr">
      <vt:lpstr>Office-tema</vt:lpstr>
      <vt:lpstr>think-cell Slide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Udvikling i årselever 2011-2017 fordelt på de største efteruddannelsesudvalg.</vt:lpstr>
      <vt:lpstr>Transportuddannelser er det område, der er mest konkurrenceudsat.  Her ses vækst i årselever både hos private og offentlige udbyder pga. konkurrencen.</vt:lpstr>
      <vt:lpstr>Data baggrund</vt:lpstr>
      <vt:lpstr>PowerPoint-præ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8-06-18T11:40:48Z</dcterms:created>
  <dcterms:modified xsi:type="dcterms:W3CDTF">2018-06-18T14:08:02Z</dcterms:modified>
</cp:coreProperties>
</file>